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6"/>
  </p:notesMasterIdLst>
  <p:sldIdLst>
    <p:sldId id="260" r:id="rId5"/>
    <p:sldId id="307" r:id="rId6"/>
    <p:sldId id="308" r:id="rId7"/>
    <p:sldId id="309" r:id="rId8"/>
    <p:sldId id="300" r:id="rId9"/>
    <p:sldId id="266" r:id="rId10"/>
    <p:sldId id="269" r:id="rId11"/>
    <p:sldId id="270" r:id="rId12"/>
    <p:sldId id="271" r:id="rId13"/>
    <p:sldId id="259" r:id="rId14"/>
    <p:sldId id="310" r:id="rId15"/>
    <p:sldId id="277" r:id="rId16"/>
    <p:sldId id="284" r:id="rId17"/>
    <p:sldId id="285" r:id="rId18"/>
    <p:sldId id="272" r:id="rId19"/>
    <p:sldId id="263" r:id="rId20"/>
    <p:sldId id="275" r:id="rId21"/>
    <p:sldId id="281" r:id="rId22"/>
    <p:sldId id="282" r:id="rId23"/>
    <p:sldId id="283" r:id="rId24"/>
    <p:sldId id="278" r:id="rId25"/>
  </p:sldIdLst>
  <p:sldSz cx="9144000" cy="5715000" type="screen16x10"/>
  <p:notesSz cx="6797675" cy="9926638"/>
  <p:custDataLst>
    <p:tags r:id="rId27"/>
  </p:custDataLst>
  <p:defaultTextStyle>
    <a:defPPr>
      <a:defRPr lang="da-DK"/>
    </a:defPPr>
    <a:lvl1pPr marL="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0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03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05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07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09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10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212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814" algn="l" defTabSz="713203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 Sprogøe Jønsson" initials="SSJ" lastIdx="9" clrIdx="0">
    <p:extLst>
      <p:ext uri="{19B8F6BF-5375-455C-9EA6-DF929625EA0E}">
        <p15:presenceInfo xmlns:p15="http://schemas.microsoft.com/office/powerpoint/2012/main" userId="S::saspj@aarhus.dk::372941ef-9cd8-4b5e-b8a9-b85332e58c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EF3"/>
    <a:srgbClr val="45B7C1"/>
    <a:srgbClr val="007A8D"/>
    <a:srgbClr val="134562"/>
    <a:srgbClr val="549EC7"/>
    <a:srgbClr val="337DA7"/>
    <a:srgbClr val="347DA7"/>
    <a:srgbClr val="2091A2"/>
    <a:srgbClr val="FFEC00"/>
    <a:srgbClr val="51B4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5F7254-5DC7-495C-B34C-B6D0F43D5C37}" v="1929" dt="2019-02-22T10:54:56.1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9" autoAdjust="0"/>
    <p:restoredTop sz="96357" autoAdjust="0"/>
  </p:normalViewPr>
  <p:slideViewPr>
    <p:cSldViewPr snapToGrid="0" snapToObjects="1" showGuides="1">
      <p:cViewPr varScale="1">
        <p:scale>
          <a:sx n="116" d="100"/>
          <a:sy n="116" d="100"/>
        </p:scale>
        <p:origin x="96" y="474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ten Kåg Mortensen" userId="2896b428-d8dc-44d6-8e1d-b69bb076778e" providerId="ADAL" clId="{4F5F7254-5DC7-495C-B34C-B6D0F43D5C37}"/>
    <pc:docChg chg="undo custSel addSld delSld modSld sldOrd">
      <pc:chgData name="Kirsten Kåg Mortensen" userId="2896b428-d8dc-44d6-8e1d-b69bb076778e" providerId="ADAL" clId="{4F5F7254-5DC7-495C-B34C-B6D0F43D5C37}" dt="2019-02-22T10:55:07.717" v="788" actId="2696"/>
      <pc:docMkLst>
        <pc:docMk/>
      </pc:docMkLst>
      <pc:sldChg chg="del">
        <pc:chgData name="Kirsten Kåg Mortensen" userId="2896b428-d8dc-44d6-8e1d-b69bb076778e" providerId="ADAL" clId="{4F5F7254-5DC7-495C-B34C-B6D0F43D5C37}" dt="2019-02-22T10:55:07.701" v="787" actId="2696"/>
        <pc:sldMkLst>
          <pc:docMk/>
          <pc:sldMk cId="2014090271" sldId="257"/>
        </pc:sldMkLst>
      </pc:sldChg>
      <pc:sldChg chg="ord">
        <pc:chgData name="Kirsten Kåg Mortensen" userId="2896b428-d8dc-44d6-8e1d-b69bb076778e" providerId="ADAL" clId="{4F5F7254-5DC7-495C-B34C-B6D0F43D5C37}" dt="2019-02-22T10:53:56.421" v="743"/>
        <pc:sldMkLst>
          <pc:docMk/>
          <pc:sldMk cId="2084076313" sldId="259"/>
        </pc:sldMkLst>
      </pc:sldChg>
      <pc:sldChg chg="modSp">
        <pc:chgData name="Kirsten Kåg Mortensen" userId="2896b428-d8dc-44d6-8e1d-b69bb076778e" providerId="ADAL" clId="{4F5F7254-5DC7-495C-B34C-B6D0F43D5C37}" dt="2019-02-21T10:49:26.351" v="586"/>
        <pc:sldMkLst>
          <pc:docMk/>
          <pc:sldMk cId="3732722922" sldId="260"/>
        </pc:sldMkLst>
        <pc:spChg chg="mod">
          <ac:chgData name="Kirsten Kåg Mortensen" userId="2896b428-d8dc-44d6-8e1d-b69bb076778e" providerId="ADAL" clId="{4F5F7254-5DC7-495C-B34C-B6D0F43D5C37}" dt="2019-02-21T10:49:25.782" v="555" actId="20577"/>
          <ac:spMkLst>
            <pc:docMk/>
            <pc:sldMk cId="3732722922" sldId="260"/>
            <ac:spMk id="2" creationId="{90CE6BDE-E138-4AA9-9F67-645072E26948}"/>
          </ac:spMkLst>
        </pc:spChg>
        <pc:spChg chg="mod">
          <ac:chgData name="Kirsten Kåg Mortensen" userId="2896b428-d8dc-44d6-8e1d-b69bb076778e" providerId="ADAL" clId="{4F5F7254-5DC7-495C-B34C-B6D0F43D5C37}" dt="2019-02-21T10:49:21.965" v="554"/>
          <ac:spMkLst>
            <pc:docMk/>
            <pc:sldMk cId="3732722922" sldId="260"/>
            <ac:spMk id="3" creationId="{4D9FCB50-5986-4BE7-A1A5-A5CED489E85B}"/>
          </ac:spMkLst>
        </pc:spChg>
        <pc:spChg chg="mod">
          <ac:chgData name="Kirsten Kåg Mortensen" userId="2896b428-d8dc-44d6-8e1d-b69bb076778e" providerId="ADAL" clId="{4F5F7254-5DC7-495C-B34C-B6D0F43D5C37}" dt="2019-02-21T10:49:26.342" v="584" actId="6549"/>
          <ac:spMkLst>
            <pc:docMk/>
            <pc:sldMk cId="3732722922" sldId="260"/>
            <ac:spMk id="4" creationId="{23D9F1D4-524A-4CC5-8B44-D7EA69C3A9B1}"/>
          </ac:spMkLst>
        </pc:spChg>
        <pc:graphicFrameChg chg="mod">
          <ac:chgData name="Kirsten Kåg Mortensen" userId="2896b428-d8dc-44d6-8e1d-b69bb076778e" providerId="ADAL" clId="{4F5F7254-5DC7-495C-B34C-B6D0F43D5C37}" dt="2019-02-21T10:49:26.351" v="586"/>
          <ac:graphicFrameMkLst>
            <pc:docMk/>
            <pc:sldMk cId="3732722922" sldId="260"/>
            <ac:graphicFrameMk id="5" creationId="{16830912-3938-4D42-BDD1-27F5B6D92C1B}"/>
          </ac:graphicFrameMkLst>
        </pc:graphicFrameChg>
      </pc:sldChg>
      <pc:sldChg chg="modSp">
        <pc:chgData name="Kirsten Kåg Mortensen" userId="2896b428-d8dc-44d6-8e1d-b69bb076778e" providerId="ADAL" clId="{4F5F7254-5DC7-495C-B34C-B6D0F43D5C37}" dt="2019-02-22T10:53:33.817" v="742"/>
        <pc:sldMkLst>
          <pc:docMk/>
          <pc:sldMk cId="1996439464" sldId="266"/>
        </pc:sldMkLst>
        <pc:spChg chg="mod">
          <ac:chgData name="Kirsten Kåg Mortensen" userId="2896b428-d8dc-44d6-8e1d-b69bb076778e" providerId="ADAL" clId="{4F5F7254-5DC7-495C-B34C-B6D0F43D5C37}" dt="2019-02-22T10:53:31.904" v="731" actId="6549"/>
          <ac:spMkLst>
            <pc:docMk/>
            <pc:sldMk cId="1996439464" sldId="266"/>
            <ac:spMk id="2" creationId="{C7CE4EFD-9D4B-4AC1-B5D4-C25E0DAB4C46}"/>
          </ac:spMkLst>
        </pc:spChg>
        <pc:spChg chg="mod">
          <ac:chgData name="Kirsten Kåg Mortensen" userId="2896b428-d8dc-44d6-8e1d-b69bb076778e" providerId="ADAL" clId="{4F5F7254-5DC7-495C-B34C-B6D0F43D5C37}" dt="2019-02-22T10:53:33.355" v="740" actId="20577"/>
          <ac:spMkLst>
            <pc:docMk/>
            <pc:sldMk cId="1996439464" sldId="266"/>
            <ac:spMk id="4" creationId="{1E764EFB-2E0E-4ABF-BD46-4A2FBE1D5D73}"/>
          </ac:spMkLst>
        </pc:spChg>
        <pc:graphicFrameChg chg="mod">
          <ac:chgData name="Kirsten Kåg Mortensen" userId="2896b428-d8dc-44d6-8e1d-b69bb076778e" providerId="ADAL" clId="{4F5F7254-5DC7-495C-B34C-B6D0F43D5C37}" dt="2019-02-22T10:53:33.817" v="742"/>
          <ac:graphicFrameMkLst>
            <pc:docMk/>
            <pc:sldMk cId="1996439464" sldId="266"/>
            <ac:graphicFrameMk id="3" creationId="{78032C68-9BD9-444F-81CB-86F2D323AD09}"/>
          </ac:graphicFrameMkLst>
        </pc:graphicFrameChg>
      </pc:sldChg>
      <pc:sldChg chg="modSp">
        <pc:chgData name="Kirsten Kåg Mortensen" userId="2896b428-d8dc-44d6-8e1d-b69bb076778e" providerId="ADAL" clId="{4F5F7254-5DC7-495C-B34C-B6D0F43D5C37}" dt="2019-02-21T10:41:47.730" v="2"/>
        <pc:sldMkLst>
          <pc:docMk/>
          <pc:sldMk cId="1222654378" sldId="271"/>
        </pc:sldMkLst>
        <pc:spChg chg="mod">
          <ac:chgData name="Kirsten Kåg Mortensen" userId="2896b428-d8dc-44d6-8e1d-b69bb076778e" providerId="ADAL" clId="{4F5F7254-5DC7-495C-B34C-B6D0F43D5C37}" dt="2019-02-21T10:41:47.730" v="2"/>
          <ac:spMkLst>
            <pc:docMk/>
            <pc:sldMk cId="1222654378" sldId="271"/>
            <ac:spMk id="3" creationId="{829E7084-EE32-4EEA-9082-083FB0CF4195}"/>
          </ac:spMkLst>
        </pc:spChg>
      </pc:sldChg>
      <pc:sldChg chg="modSp">
        <pc:chgData name="Kirsten Kåg Mortensen" userId="2896b428-d8dc-44d6-8e1d-b69bb076778e" providerId="ADAL" clId="{4F5F7254-5DC7-495C-B34C-B6D0F43D5C37}" dt="2019-02-22T10:54:29.401" v="746" actId="5793"/>
        <pc:sldMkLst>
          <pc:docMk/>
          <pc:sldMk cId="2745436807" sldId="277"/>
        </pc:sldMkLst>
        <pc:spChg chg="mod">
          <ac:chgData name="Kirsten Kåg Mortensen" userId="2896b428-d8dc-44d6-8e1d-b69bb076778e" providerId="ADAL" clId="{4F5F7254-5DC7-495C-B34C-B6D0F43D5C37}" dt="2019-02-22T10:54:29.401" v="746" actId="5793"/>
          <ac:spMkLst>
            <pc:docMk/>
            <pc:sldMk cId="2745436807" sldId="277"/>
            <ac:spMk id="7" creationId="{8AEA0E36-7E4A-4827-AFC1-815CCBC851C6}"/>
          </ac:spMkLst>
        </pc:spChg>
      </pc:sldChg>
      <pc:sldChg chg="modSp">
        <pc:chgData name="Kirsten Kåg Mortensen" userId="2896b428-d8dc-44d6-8e1d-b69bb076778e" providerId="ADAL" clId="{4F5F7254-5DC7-495C-B34C-B6D0F43D5C37}" dt="2019-02-22T10:54:56.112" v="786"/>
        <pc:sldMkLst>
          <pc:docMk/>
          <pc:sldMk cId="1511812720" sldId="281"/>
        </pc:sldMkLst>
        <pc:spChg chg="mod">
          <ac:chgData name="Kirsten Kåg Mortensen" userId="2896b428-d8dc-44d6-8e1d-b69bb076778e" providerId="ADAL" clId="{4F5F7254-5DC7-495C-B34C-B6D0F43D5C37}" dt="2019-02-22T10:54:55.543" v="755" actId="20577"/>
          <ac:spMkLst>
            <pc:docMk/>
            <pc:sldMk cId="1511812720" sldId="281"/>
            <ac:spMk id="2" creationId="{7D6AC777-1DDF-43D4-8D6B-E5BC0EF65D6A}"/>
          </ac:spMkLst>
        </pc:spChg>
        <pc:spChg chg="mod">
          <ac:chgData name="Kirsten Kåg Mortensen" userId="2896b428-d8dc-44d6-8e1d-b69bb076778e" providerId="ADAL" clId="{4F5F7254-5DC7-495C-B34C-B6D0F43D5C37}" dt="2019-02-22T10:54:56.112" v="784" actId="6549"/>
          <ac:spMkLst>
            <pc:docMk/>
            <pc:sldMk cId="1511812720" sldId="281"/>
            <ac:spMk id="5" creationId="{78813885-3719-46E4-BACC-769B72A146DF}"/>
          </ac:spMkLst>
        </pc:spChg>
        <pc:graphicFrameChg chg="mod">
          <ac:chgData name="Kirsten Kåg Mortensen" userId="2896b428-d8dc-44d6-8e1d-b69bb076778e" providerId="ADAL" clId="{4F5F7254-5DC7-495C-B34C-B6D0F43D5C37}" dt="2019-02-22T10:54:56.112" v="786"/>
          <ac:graphicFrameMkLst>
            <pc:docMk/>
            <pc:sldMk cId="1511812720" sldId="281"/>
            <ac:graphicFrameMk id="6" creationId="{EF28B325-27B4-4FB1-9280-74AB190D75BB}"/>
          </ac:graphicFrameMkLst>
        </pc:graphicFrameChg>
      </pc:sldChg>
      <pc:sldChg chg="modSp">
        <pc:chgData name="Kirsten Kåg Mortensen" userId="2896b428-d8dc-44d6-8e1d-b69bb076778e" providerId="ADAL" clId="{4F5F7254-5DC7-495C-B34C-B6D0F43D5C37}" dt="2019-02-22T10:53:17.957" v="664"/>
        <pc:sldMkLst>
          <pc:docMk/>
          <pc:sldMk cId="636344464" sldId="300"/>
        </pc:sldMkLst>
        <pc:spChg chg="mod">
          <ac:chgData name="Kirsten Kåg Mortensen" userId="2896b428-d8dc-44d6-8e1d-b69bb076778e" providerId="ADAL" clId="{4F5F7254-5DC7-495C-B34C-B6D0F43D5C37}" dt="2019-02-22T10:53:17.435" v="662" actId="20577"/>
          <ac:spMkLst>
            <pc:docMk/>
            <pc:sldMk cId="636344464" sldId="300"/>
            <ac:spMk id="2" creationId="{0E2A783D-5560-4A02-916D-D7AFFB240B1C}"/>
          </ac:spMkLst>
        </pc:spChg>
        <pc:spChg chg="mod">
          <ac:chgData name="Kirsten Kåg Mortensen" userId="2896b428-d8dc-44d6-8e1d-b69bb076778e" providerId="ADAL" clId="{4F5F7254-5DC7-495C-B34C-B6D0F43D5C37}" dt="2019-02-22T10:53:08.351" v="640" actId="6549"/>
          <ac:spMkLst>
            <pc:docMk/>
            <pc:sldMk cId="636344464" sldId="300"/>
            <ac:spMk id="5" creationId="{0EBB19A4-23CF-4DDC-BCF6-40F2153A966E}"/>
          </ac:spMkLst>
        </pc:spChg>
        <pc:graphicFrameChg chg="mod">
          <ac:chgData name="Kirsten Kåg Mortensen" userId="2896b428-d8dc-44d6-8e1d-b69bb076778e" providerId="ADAL" clId="{4F5F7254-5DC7-495C-B34C-B6D0F43D5C37}" dt="2019-02-22T10:53:17.957" v="664"/>
          <ac:graphicFrameMkLst>
            <pc:docMk/>
            <pc:sldMk cId="636344464" sldId="300"/>
            <ac:graphicFrameMk id="6" creationId="{6FD5B7B9-1A55-49B5-B51E-5E37FFCC9EDF}"/>
          </ac:graphicFrameMkLst>
        </pc:graphicFrameChg>
      </pc:sldChg>
      <pc:sldChg chg="addSp delSp modSp add">
        <pc:chgData name="Kirsten Kåg Mortensen" userId="2896b428-d8dc-44d6-8e1d-b69bb076778e" providerId="ADAL" clId="{4F5F7254-5DC7-495C-B34C-B6D0F43D5C37}" dt="2019-02-21T10:48:14.594" v="553" actId="478"/>
        <pc:sldMkLst>
          <pc:docMk/>
          <pc:sldMk cId="3994442519" sldId="310"/>
        </pc:sldMkLst>
        <pc:spChg chg="mod ord">
          <ac:chgData name="Kirsten Kåg Mortensen" userId="2896b428-d8dc-44d6-8e1d-b69bb076778e" providerId="ADAL" clId="{4F5F7254-5DC7-495C-B34C-B6D0F43D5C37}" dt="2019-02-21T10:42:08.398" v="156" actId="20577"/>
          <ac:spMkLst>
            <pc:docMk/>
            <pc:sldMk cId="3994442519" sldId="310"/>
            <ac:spMk id="2" creationId="{2737493C-BEA2-4192-8867-D0B69B061C06}"/>
          </ac:spMkLst>
        </pc:spChg>
        <pc:spChg chg="mod ord">
          <ac:chgData name="Kirsten Kåg Mortensen" userId="2896b428-d8dc-44d6-8e1d-b69bb076778e" providerId="ADAL" clId="{4F5F7254-5DC7-495C-B34C-B6D0F43D5C37}" dt="2019-02-21T10:41:58.132" v="70"/>
          <ac:spMkLst>
            <pc:docMk/>
            <pc:sldMk cId="3994442519" sldId="310"/>
            <ac:spMk id="3" creationId="{4C6383AE-966E-40BB-BCCE-FA62C6B74ED5}"/>
          </ac:spMkLst>
        </pc:spChg>
        <pc:spChg chg="mod ord">
          <ac:chgData name="Kirsten Kåg Mortensen" userId="2896b428-d8dc-44d6-8e1d-b69bb076778e" providerId="ADAL" clId="{4F5F7254-5DC7-495C-B34C-B6D0F43D5C37}" dt="2019-02-21T10:46:13.019" v="543" actId="1076"/>
          <ac:spMkLst>
            <pc:docMk/>
            <pc:sldMk cId="3994442519" sldId="310"/>
            <ac:spMk id="4" creationId="{7C3237E3-5663-4129-B54C-4C2CBCEADF47}"/>
          </ac:spMkLst>
        </pc:spChg>
        <pc:spChg chg="add">
          <ac:chgData name="Kirsten Kåg Mortensen" userId="2896b428-d8dc-44d6-8e1d-b69bb076778e" providerId="ADAL" clId="{4F5F7254-5DC7-495C-B34C-B6D0F43D5C37}" dt="2019-02-21T10:41:35.891" v="1"/>
          <ac:spMkLst>
            <pc:docMk/>
            <pc:sldMk cId="3994442519" sldId="310"/>
            <ac:spMk id="5" creationId="{FE6C4A8A-8900-4264-A4C8-B6178237BEA3}"/>
          </ac:spMkLst>
        </pc:spChg>
        <pc:spChg chg="add">
          <ac:chgData name="Kirsten Kåg Mortensen" userId="2896b428-d8dc-44d6-8e1d-b69bb076778e" providerId="ADAL" clId="{4F5F7254-5DC7-495C-B34C-B6D0F43D5C37}" dt="2019-02-21T10:41:35.891" v="1"/>
          <ac:spMkLst>
            <pc:docMk/>
            <pc:sldMk cId="3994442519" sldId="310"/>
            <ac:spMk id="6" creationId="{E9BFFF84-CC6F-4DF9-B32D-1EF5961C1960}"/>
          </ac:spMkLst>
        </pc:spChg>
        <pc:spChg chg="add mod ord">
          <ac:chgData name="Kirsten Kåg Mortensen" userId="2896b428-d8dc-44d6-8e1d-b69bb076778e" providerId="ADAL" clId="{4F5F7254-5DC7-495C-B34C-B6D0F43D5C37}" dt="2019-02-21T10:42:06.359" v="142" actId="6549"/>
          <ac:spMkLst>
            <pc:docMk/>
            <pc:sldMk cId="3994442519" sldId="310"/>
            <ac:spMk id="8" creationId="{892F8270-7182-4367-A344-6E8A54A5343D}"/>
          </ac:spMkLst>
        </pc:spChg>
        <pc:spChg chg="add del mod">
          <ac:chgData name="Kirsten Kåg Mortensen" userId="2896b428-d8dc-44d6-8e1d-b69bb076778e" providerId="ADAL" clId="{4F5F7254-5DC7-495C-B34C-B6D0F43D5C37}" dt="2019-02-21T10:47:07.379" v="547" actId="478"/>
          <ac:spMkLst>
            <pc:docMk/>
            <pc:sldMk cId="3994442519" sldId="310"/>
            <ac:spMk id="11" creationId="{BF8088E0-AB09-4528-ACE2-9DAD7768E6CA}"/>
          </ac:spMkLst>
        </pc:spChg>
        <pc:spChg chg="add del mod">
          <ac:chgData name="Kirsten Kåg Mortensen" userId="2896b428-d8dc-44d6-8e1d-b69bb076778e" providerId="ADAL" clId="{4F5F7254-5DC7-495C-B34C-B6D0F43D5C37}" dt="2019-02-21T10:48:14.594" v="553" actId="478"/>
          <ac:spMkLst>
            <pc:docMk/>
            <pc:sldMk cId="3994442519" sldId="310"/>
            <ac:spMk id="14" creationId="{7DBE66F3-53B9-46AD-8939-AD6DE208FB30}"/>
          </ac:spMkLst>
        </pc:spChg>
        <pc:graphicFrameChg chg="add mod ord">
          <ac:chgData name="Kirsten Kåg Mortensen" userId="2896b428-d8dc-44d6-8e1d-b69bb076778e" providerId="ADAL" clId="{4F5F7254-5DC7-495C-B34C-B6D0F43D5C37}" dt="2019-02-21T10:42:08.915" v="158"/>
          <ac:graphicFrameMkLst>
            <pc:docMk/>
            <pc:sldMk cId="3994442519" sldId="310"/>
            <ac:graphicFrameMk id="7" creationId="{10EA4744-955D-4EAC-919F-63CC30ED491C}"/>
          </ac:graphicFrameMkLst>
        </pc:graphicFrameChg>
        <pc:picChg chg="add del mod">
          <ac:chgData name="Kirsten Kåg Mortensen" userId="2896b428-d8dc-44d6-8e1d-b69bb076778e" providerId="ADAL" clId="{4F5F7254-5DC7-495C-B34C-B6D0F43D5C37}" dt="2019-02-21T10:47:04.621" v="546" actId="478"/>
          <ac:picMkLst>
            <pc:docMk/>
            <pc:sldMk cId="3994442519" sldId="310"/>
            <ac:picMk id="10" creationId="{8DDA5BB4-78A3-452B-BF7E-9DA52F6E4299}"/>
          </ac:picMkLst>
        </pc:picChg>
        <pc:picChg chg="add del mod">
          <ac:chgData name="Kirsten Kåg Mortensen" userId="2896b428-d8dc-44d6-8e1d-b69bb076778e" providerId="ADAL" clId="{4F5F7254-5DC7-495C-B34C-B6D0F43D5C37}" dt="2019-02-21T10:48:10.146" v="552" actId="478"/>
          <ac:picMkLst>
            <pc:docMk/>
            <pc:sldMk cId="3994442519" sldId="310"/>
            <ac:picMk id="13" creationId="{D1A778CC-2D75-4C3C-B34C-207E0D96236B}"/>
          </ac:picMkLst>
        </pc:picChg>
      </pc:sldChg>
      <pc:sldMasterChg chg="delSldLayout">
        <pc:chgData name="Kirsten Kåg Mortensen" userId="2896b428-d8dc-44d6-8e1d-b69bb076778e" providerId="ADAL" clId="{4F5F7254-5DC7-495C-B34C-B6D0F43D5C37}" dt="2019-02-22T10:55:07.717" v="788" actId="2696"/>
        <pc:sldMasterMkLst>
          <pc:docMk/>
          <pc:sldMasterMk cId="1380561792" sldId="2147483660"/>
        </pc:sldMasterMkLst>
        <pc:sldLayoutChg chg="del">
          <pc:chgData name="Kirsten Kåg Mortensen" userId="2896b428-d8dc-44d6-8e1d-b69bb076778e" providerId="ADAL" clId="{4F5F7254-5DC7-495C-B34C-B6D0F43D5C37}" dt="2019-02-22T10:55:07.717" v="788" actId="2696"/>
          <pc:sldLayoutMkLst>
            <pc:docMk/>
            <pc:sldMasterMk cId="1380561792" sldId="2147483660"/>
            <pc:sldLayoutMk cId="3962456287" sldId="2147483742"/>
          </pc:sldLayoutMkLst>
        </pc:sldLayoutChg>
      </pc:sldMasterChg>
    </pc:docChg>
  </pc:docChgLst>
  <pc:docChgLst>
    <pc:chgData name="Kirsten Kåg Mortensen" userId="2896b428-d8dc-44d6-8e1d-b69bb076778e" providerId="ADAL" clId="{BD554195-EB6C-4124-BD3A-BEFBA47944AE}"/>
    <pc:docChg chg="undo custSel addSld delSld modSld">
      <pc:chgData name="Kirsten Kåg Mortensen" userId="2896b428-d8dc-44d6-8e1d-b69bb076778e" providerId="ADAL" clId="{BD554195-EB6C-4124-BD3A-BEFBA47944AE}" dt="2019-02-21T10:26:12.703" v="6013" actId="2696"/>
      <pc:docMkLst>
        <pc:docMk/>
      </pc:docMkLst>
      <pc:sldChg chg="add modTransition">
        <pc:chgData name="Kirsten Kåg Mortensen" userId="2896b428-d8dc-44d6-8e1d-b69bb076778e" providerId="ADAL" clId="{BD554195-EB6C-4124-BD3A-BEFBA47944AE}" dt="2019-02-21T09:57:43.081" v="5737"/>
        <pc:sldMkLst>
          <pc:docMk/>
          <pc:sldMk cId="2014090271" sldId="257"/>
        </pc:sldMkLst>
      </pc:sldChg>
      <pc:sldChg chg="addSp delSp modSp del">
        <pc:chgData name="Kirsten Kåg Mortensen" userId="2896b428-d8dc-44d6-8e1d-b69bb076778e" providerId="ADAL" clId="{BD554195-EB6C-4124-BD3A-BEFBA47944AE}" dt="2019-02-21T10:26:12.703" v="6013" actId="2696"/>
        <pc:sldMkLst>
          <pc:docMk/>
          <pc:sldMk cId="243910502" sldId="258"/>
        </pc:sldMkLst>
        <pc:spChg chg="mod ord">
          <ac:chgData name="Kirsten Kåg Mortensen" userId="2896b428-d8dc-44d6-8e1d-b69bb076778e" providerId="ADAL" clId="{BD554195-EB6C-4124-BD3A-BEFBA47944AE}" dt="2019-02-21T09:16:30.540" v="3785"/>
          <ac:spMkLst>
            <pc:docMk/>
            <pc:sldMk cId="243910502" sldId="258"/>
            <ac:spMk id="3" creationId="{2B919DEE-1E21-4078-9484-64F8AA00EB28}"/>
          </ac:spMkLst>
        </pc:spChg>
        <pc:spChg chg="del mod ord">
          <ac:chgData name="Kirsten Kåg Mortensen" userId="2896b428-d8dc-44d6-8e1d-b69bb076778e" providerId="ADAL" clId="{BD554195-EB6C-4124-BD3A-BEFBA47944AE}" dt="2019-02-21T09:23:57.859" v="4913"/>
          <ac:spMkLst>
            <pc:docMk/>
            <pc:sldMk cId="243910502" sldId="258"/>
            <ac:spMk id="5" creationId="{5113C88D-2445-4ADF-9575-3408C6E3E942}"/>
          </ac:spMkLst>
        </pc:spChg>
        <pc:spChg chg="del mod ord">
          <ac:chgData name="Kirsten Kåg Mortensen" userId="2896b428-d8dc-44d6-8e1d-b69bb076778e" providerId="ADAL" clId="{BD554195-EB6C-4124-BD3A-BEFBA47944AE}" dt="2019-02-21T09:23:57.858" v="4911"/>
          <ac:spMkLst>
            <pc:docMk/>
            <pc:sldMk cId="243910502" sldId="258"/>
            <ac:spMk id="6" creationId="{B39A04BC-8591-4CF7-8705-A2308845B0EE}"/>
          </ac:spMkLst>
        </pc:spChg>
        <pc:spChg chg="del mod ord">
          <ac:chgData name="Kirsten Kåg Mortensen" userId="2896b428-d8dc-44d6-8e1d-b69bb076778e" providerId="ADAL" clId="{BD554195-EB6C-4124-BD3A-BEFBA47944AE}" dt="2019-02-21T09:23:57.856" v="4909"/>
          <ac:spMkLst>
            <pc:docMk/>
            <pc:sldMk cId="243910502" sldId="258"/>
            <ac:spMk id="7" creationId="{10220733-CB8A-4BC2-8793-5FE47871203E}"/>
          </ac:spMkLst>
        </pc:spChg>
        <pc:spChg chg="del mod ord">
          <ac:chgData name="Kirsten Kåg Mortensen" userId="2896b428-d8dc-44d6-8e1d-b69bb076778e" providerId="ADAL" clId="{BD554195-EB6C-4124-BD3A-BEFBA47944AE}" dt="2019-02-21T09:23:57.855" v="4907"/>
          <ac:spMkLst>
            <pc:docMk/>
            <pc:sldMk cId="243910502" sldId="258"/>
            <ac:spMk id="8" creationId="{BAA0F477-A516-4B46-AEF2-EEE799A69CC3}"/>
          </ac:spMkLst>
        </pc:spChg>
        <pc:spChg chg="del mod ord">
          <ac:chgData name="Kirsten Kåg Mortensen" userId="2896b428-d8dc-44d6-8e1d-b69bb076778e" providerId="ADAL" clId="{BD554195-EB6C-4124-BD3A-BEFBA47944AE}" dt="2019-02-21T09:23:57.854" v="4905"/>
          <ac:spMkLst>
            <pc:docMk/>
            <pc:sldMk cId="243910502" sldId="258"/>
            <ac:spMk id="9" creationId="{4F482A75-6F76-4665-AFE1-74621FC56E16}"/>
          </ac:spMkLst>
        </pc:spChg>
        <pc:spChg chg="del mod ord">
          <ac:chgData name="Kirsten Kåg Mortensen" userId="2896b428-d8dc-44d6-8e1d-b69bb076778e" providerId="ADAL" clId="{BD554195-EB6C-4124-BD3A-BEFBA47944AE}" dt="2019-02-20T10:48:01.836" v="1464"/>
          <ac:spMkLst>
            <pc:docMk/>
            <pc:sldMk cId="243910502" sldId="258"/>
            <ac:spMk id="12" creationId="{6B5B27B9-F1F0-4385-9948-43B28C520BB5}"/>
          </ac:spMkLst>
        </pc:spChg>
        <pc:spChg chg="del mod ord">
          <ac:chgData name="Kirsten Kåg Mortensen" userId="2896b428-d8dc-44d6-8e1d-b69bb076778e" providerId="ADAL" clId="{BD554195-EB6C-4124-BD3A-BEFBA47944AE}" dt="2019-02-21T09:23:57.841" v="4887"/>
          <ac:spMkLst>
            <pc:docMk/>
            <pc:sldMk cId="243910502" sldId="258"/>
            <ac:spMk id="14" creationId="{93700C69-F13D-4D76-BA4A-CD87D0509CFF}"/>
          </ac:spMkLst>
        </pc:spChg>
        <pc:spChg chg="add del mod ord">
          <ac:chgData name="Kirsten Kåg Mortensen" userId="2896b428-d8dc-44d6-8e1d-b69bb076778e" providerId="ADAL" clId="{BD554195-EB6C-4124-BD3A-BEFBA47944AE}" dt="2019-02-21T09:23:57.846" v="4893"/>
          <ac:spMkLst>
            <pc:docMk/>
            <pc:sldMk cId="243910502" sldId="258"/>
            <ac:spMk id="21" creationId="{7766EFDC-38C6-4516-8F99-AC7902DDBC3B}"/>
          </ac:spMkLst>
        </pc:spChg>
        <pc:spChg chg="add del mod ord">
          <ac:chgData name="Kirsten Kåg Mortensen" userId="2896b428-d8dc-44d6-8e1d-b69bb076778e" providerId="ADAL" clId="{BD554195-EB6C-4124-BD3A-BEFBA47944AE}" dt="2019-02-21T09:23:57.823" v="4875"/>
          <ac:spMkLst>
            <pc:docMk/>
            <pc:sldMk cId="243910502" sldId="258"/>
            <ac:spMk id="22" creationId="{76C8053A-06B2-4ED9-BCA1-07D0C89A37CC}"/>
          </ac:spMkLst>
        </pc:spChg>
        <pc:spChg chg="add del mod ord">
          <ac:chgData name="Kirsten Kåg Mortensen" userId="2896b428-d8dc-44d6-8e1d-b69bb076778e" providerId="ADAL" clId="{BD554195-EB6C-4124-BD3A-BEFBA47944AE}" dt="2019-02-21T09:23:57.837" v="4881"/>
          <ac:spMkLst>
            <pc:docMk/>
            <pc:sldMk cId="243910502" sldId="258"/>
            <ac:spMk id="23" creationId="{88D7969A-B37D-4556-A659-40949B17C9B2}"/>
          </ac:spMkLst>
        </pc:spChg>
        <pc:spChg chg="add mod">
          <ac:chgData name="Kirsten Kåg Mortensen" userId="2896b428-d8dc-44d6-8e1d-b69bb076778e" providerId="ADAL" clId="{BD554195-EB6C-4124-BD3A-BEFBA47944AE}" dt="2019-02-21T09:21:10.701" v="4656" actId="1076"/>
          <ac:spMkLst>
            <pc:docMk/>
            <pc:sldMk cId="243910502" sldId="258"/>
            <ac:spMk id="24" creationId="{5FD5F8C6-F87D-4C1C-BAFA-0ACA983BFDF4}"/>
          </ac:spMkLst>
        </pc:spChg>
        <pc:spChg chg="add mod">
          <ac:chgData name="Kirsten Kåg Mortensen" userId="2896b428-d8dc-44d6-8e1d-b69bb076778e" providerId="ADAL" clId="{BD554195-EB6C-4124-BD3A-BEFBA47944AE}" dt="2019-02-21T09:23:54.457" v="4873" actId="20577"/>
          <ac:spMkLst>
            <pc:docMk/>
            <pc:sldMk cId="243910502" sldId="258"/>
            <ac:spMk id="25" creationId="{E9BFFF84-CC6F-4DF9-B32D-1EF5961C1960}"/>
          </ac:spMkLst>
        </pc:spChg>
        <pc:spChg chg="del mod ord">
          <ac:chgData name="Kirsten Kåg Mortensen" userId="2896b428-d8dc-44d6-8e1d-b69bb076778e" providerId="ADAL" clId="{BD554195-EB6C-4124-BD3A-BEFBA47944AE}" dt="2019-02-20T10:49:25.586" v="1755"/>
          <ac:spMkLst>
            <pc:docMk/>
            <pc:sldMk cId="243910502" sldId="258"/>
            <ac:spMk id="43" creationId="{3F640C3D-391A-4892-B244-ACEEE87B389F}"/>
          </ac:spMkLst>
        </pc:spChg>
        <pc:spChg chg="del mod ord">
          <ac:chgData name="Kirsten Kåg Mortensen" userId="2896b428-d8dc-44d6-8e1d-b69bb076778e" providerId="ADAL" clId="{BD554195-EB6C-4124-BD3A-BEFBA47944AE}" dt="2019-02-20T10:49:30.266" v="1871"/>
          <ac:spMkLst>
            <pc:docMk/>
            <pc:sldMk cId="243910502" sldId="258"/>
            <ac:spMk id="44" creationId="{B57DBA89-0B6C-4CC9-B062-1326453B3A8A}"/>
          </ac:spMkLst>
        </pc:spChg>
        <pc:spChg chg="del mod ord">
          <ac:chgData name="Kirsten Kåg Mortensen" userId="2896b428-d8dc-44d6-8e1d-b69bb076778e" providerId="ADAL" clId="{BD554195-EB6C-4124-BD3A-BEFBA47944AE}" dt="2019-02-20T10:49:28.577" v="1819"/>
          <ac:spMkLst>
            <pc:docMk/>
            <pc:sldMk cId="243910502" sldId="258"/>
            <ac:spMk id="46" creationId="{C1C81DE2-5DEA-4B46-BC1B-E75DC3269ECB}"/>
          </ac:spMkLst>
        </pc:spChg>
        <pc:spChg chg="del mod ord">
          <ac:chgData name="Kirsten Kåg Mortensen" userId="2896b428-d8dc-44d6-8e1d-b69bb076778e" providerId="ADAL" clId="{BD554195-EB6C-4124-BD3A-BEFBA47944AE}" dt="2019-02-20T10:49:23.041" v="1679"/>
          <ac:spMkLst>
            <pc:docMk/>
            <pc:sldMk cId="243910502" sldId="258"/>
            <ac:spMk id="47" creationId="{967F50BB-541C-4921-9D4E-B02F50EC000E}"/>
          </ac:spMkLst>
        </pc:spChg>
        <pc:spChg chg="del mod ord">
          <ac:chgData name="Kirsten Kåg Mortensen" userId="2896b428-d8dc-44d6-8e1d-b69bb076778e" providerId="ADAL" clId="{BD554195-EB6C-4124-BD3A-BEFBA47944AE}" dt="2019-02-20T10:50:16.777" v="2211"/>
          <ac:spMkLst>
            <pc:docMk/>
            <pc:sldMk cId="243910502" sldId="258"/>
            <ac:spMk id="48" creationId="{B1BD2C56-C5DE-429F-8602-E34F520E1494}"/>
          </ac:spMkLst>
        </pc:spChg>
        <pc:spChg chg="del mod ord">
          <ac:chgData name="Kirsten Kåg Mortensen" userId="2896b428-d8dc-44d6-8e1d-b69bb076778e" providerId="ADAL" clId="{BD554195-EB6C-4124-BD3A-BEFBA47944AE}" dt="2019-02-21T09:23:57.840" v="4885"/>
          <ac:spMkLst>
            <pc:docMk/>
            <pc:sldMk cId="243910502" sldId="258"/>
            <ac:spMk id="50" creationId="{BAB31003-39A6-453B-ACE4-5DFB22CF348F}"/>
          </ac:spMkLst>
        </pc:spChg>
        <pc:spChg chg="del mod ord">
          <ac:chgData name="Kirsten Kåg Mortensen" userId="2896b428-d8dc-44d6-8e1d-b69bb076778e" providerId="ADAL" clId="{BD554195-EB6C-4124-BD3A-BEFBA47944AE}" dt="2019-02-21T09:23:57.848" v="4897"/>
          <ac:spMkLst>
            <pc:docMk/>
            <pc:sldMk cId="243910502" sldId="258"/>
            <ac:spMk id="51" creationId="{085C481E-FFEF-48E6-A111-BAF1D8117881}"/>
          </ac:spMkLst>
        </pc:spChg>
        <pc:spChg chg="del mod ord">
          <ac:chgData name="Kirsten Kåg Mortensen" userId="2896b428-d8dc-44d6-8e1d-b69bb076778e" providerId="ADAL" clId="{BD554195-EB6C-4124-BD3A-BEFBA47944AE}" dt="2019-02-20T10:49:23.044" v="1683"/>
          <ac:spMkLst>
            <pc:docMk/>
            <pc:sldMk cId="243910502" sldId="258"/>
            <ac:spMk id="52" creationId="{07EC8E67-1F57-4674-AA8D-0FF34F049417}"/>
          </ac:spMkLst>
        </pc:spChg>
        <pc:spChg chg="del mod ord">
          <ac:chgData name="Kirsten Kåg Mortensen" userId="2896b428-d8dc-44d6-8e1d-b69bb076778e" providerId="ADAL" clId="{BD554195-EB6C-4124-BD3A-BEFBA47944AE}" dt="2019-02-20T10:49:28.580" v="1823"/>
          <ac:spMkLst>
            <pc:docMk/>
            <pc:sldMk cId="243910502" sldId="258"/>
            <ac:spMk id="55" creationId="{46454A97-4583-45E9-9C86-3B5CC0B04BA2}"/>
          </ac:spMkLst>
        </pc:spChg>
        <pc:spChg chg="del mod ord">
          <ac:chgData name="Kirsten Kåg Mortensen" userId="2896b428-d8dc-44d6-8e1d-b69bb076778e" providerId="ADAL" clId="{BD554195-EB6C-4124-BD3A-BEFBA47944AE}" dt="2019-02-20T10:49:25.591" v="1759"/>
          <ac:spMkLst>
            <pc:docMk/>
            <pc:sldMk cId="243910502" sldId="258"/>
            <ac:spMk id="57" creationId="{0EC0E7F7-31C6-4296-8556-40903E1422A6}"/>
          </ac:spMkLst>
        </pc:spChg>
        <pc:spChg chg="del mod ord">
          <ac:chgData name="Kirsten Kåg Mortensen" userId="2896b428-d8dc-44d6-8e1d-b69bb076778e" providerId="ADAL" clId="{BD554195-EB6C-4124-BD3A-BEFBA47944AE}" dt="2019-02-20T10:49:30.269" v="1875"/>
          <ac:spMkLst>
            <pc:docMk/>
            <pc:sldMk cId="243910502" sldId="258"/>
            <ac:spMk id="58" creationId="{E6C6650D-A87F-4CAC-816F-AD2297B3A3A3}"/>
          </ac:spMkLst>
        </pc:spChg>
        <pc:spChg chg="del mod ord">
          <ac:chgData name="Kirsten Kåg Mortensen" userId="2896b428-d8dc-44d6-8e1d-b69bb076778e" providerId="ADAL" clId="{BD554195-EB6C-4124-BD3A-BEFBA47944AE}" dt="2019-02-21T09:23:57.850" v="4899"/>
          <ac:spMkLst>
            <pc:docMk/>
            <pc:sldMk cId="243910502" sldId="258"/>
            <ac:spMk id="59" creationId="{34EA462B-5C5E-46B0-96BF-6742659C6505}"/>
          </ac:spMkLst>
        </pc:spChg>
        <pc:spChg chg="del mod ord">
          <ac:chgData name="Kirsten Kåg Mortensen" userId="2896b428-d8dc-44d6-8e1d-b69bb076778e" providerId="ADAL" clId="{BD554195-EB6C-4124-BD3A-BEFBA47944AE}" dt="2019-02-20T10:49:25.589" v="1757"/>
          <ac:spMkLst>
            <pc:docMk/>
            <pc:sldMk cId="243910502" sldId="258"/>
            <ac:spMk id="60" creationId="{B4D139FF-7773-402C-8044-222197B74223}"/>
          </ac:spMkLst>
        </pc:spChg>
        <pc:spChg chg="del mod ord">
          <ac:chgData name="Kirsten Kåg Mortensen" userId="2896b428-d8dc-44d6-8e1d-b69bb076778e" providerId="ADAL" clId="{BD554195-EB6C-4124-BD3A-BEFBA47944AE}" dt="2019-02-20T10:49:23.043" v="1681"/>
          <ac:spMkLst>
            <pc:docMk/>
            <pc:sldMk cId="243910502" sldId="258"/>
            <ac:spMk id="61" creationId="{8B02AB10-AEAF-43B0-8133-7255FE0CC493}"/>
          </ac:spMkLst>
        </pc:spChg>
        <pc:spChg chg="del mod ord">
          <ac:chgData name="Kirsten Kåg Mortensen" userId="2896b428-d8dc-44d6-8e1d-b69bb076778e" providerId="ADAL" clId="{BD554195-EB6C-4124-BD3A-BEFBA47944AE}" dt="2019-02-20T10:49:28.579" v="1821"/>
          <ac:spMkLst>
            <pc:docMk/>
            <pc:sldMk cId="243910502" sldId="258"/>
            <ac:spMk id="63" creationId="{A229E055-245D-48C3-94C4-B84D9D704820}"/>
          </ac:spMkLst>
        </pc:spChg>
        <pc:spChg chg="del mod ord">
          <ac:chgData name="Kirsten Kåg Mortensen" userId="2896b428-d8dc-44d6-8e1d-b69bb076778e" providerId="ADAL" clId="{BD554195-EB6C-4124-BD3A-BEFBA47944AE}" dt="2019-02-20T10:49:30.268" v="1873"/>
          <ac:spMkLst>
            <pc:docMk/>
            <pc:sldMk cId="243910502" sldId="258"/>
            <ac:spMk id="64" creationId="{AED01AF7-E7AC-4678-B5E4-E14EC9083E7A}"/>
          </ac:spMkLst>
        </pc:spChg>
        <pc:spChg chg="mod ord">
          <ac:chgData name="Kirsten Kåg Mortensen" userId="2896b428-d8dc-44d6-8e1d-b69bb076778e" providerId="ADAL" clId="{BD554195-EB6C-4124-BD3A-BEFBA47944AE}" dt="2019-02-21T09:16:56.973" v="3892" actId="6549"/>
          <ac:spMkLst>
            <pc:docMk/>
            <pc:sldMk cId="243910502" sldId="258"/>
            <ac:spMk id="65" creationId="{BCDF7394-E0BA-4BB8-A5BB-81267C15D058}"/>
          </ac:spMkLst>
        </pc:spChg>
        <pc:spChg chg="del mod ord">
          <ac:chgData name="Kirsten Kåg Mortensen" userId="2896b428-d8dc-44d6-8e1d-b69bb076778e" providerId="ADAL" clId="{BD554195-EB6C-4124-BD3A-BEFBA47944AE}" dt="2019-02-21T09:23:57.851" v="4901"/>
          <ac:spMkLst>
            <pc:docMk/>
            <pc:sldMk cId="243910502" sldId="258"/>
            <ac:spMk id="67" creationId="{A4036E69-A8E9-4841-B433-D661E077C543}"/>
          </ac:spMkLst>
        </pc:spChg>
        <pc:spChg chg="del mod ord">
          <ac:chgData name="Kirsten Kåg Mortensen" userId="2896b428-d8dc-44d6-8e1d-b69bb076778e" providerId="ADAL" clId="{BD554195-EB6C-4124-BD3A-BEFBA47944AE}" dt="2019-02-21T09:23:57.844" v="4891"/>
          <ac:spMkLst>
            <pc:docMk/>
            <pc:sldMk cId="243910502" sldId="258"/>
            <ac:spMk id="68" creationId="{24A0B6A6-1A06-436D-A0E8-41B8C9C77A84}"/>
          </ac:spMkLst>
        </pc:spChg>
        <pc:spChg chg="del mod ord">
          <ac:chgData name="Kirsten Kåg Mortensen" userId="2896b428-d8dc-44d6-8e1d-b69bb076778e" providerId="ADAL" clId="{BD554195-EB6C-4124-BD3A-BEFBA47944AE}" dt="2019-02-20T10:48:01.839" v="1466"/>
          <ac:spMkLst>
            <pc:docMk/>
            <pc:sldMk cId="243910502" sldId="258"/>
            <ac:spMk id="69" creationId="{09B39DB5-A138-48AC-B81A-0A2ED5F12790}"/>
          </ac:spMkLst>
        </pc:spChg>
        <pc:spChg chg="del mod ord">
          <ac:chgData name="Kirsten Kåg Mortensen" userId="2896b428-d8dc-44d6-8e1d-b69bb076778e" providerId="ADAL" clId="{BD554195-EB6C-4124-BD3A-BEFBA47944AE}" dt="2019-02-20T10:50:16.780" v="2213"/>
          <ac:spMkLst>
            <pc:docMk/>
            <pc:sldMk cId="243910502" sldId="258"/>
            <ac:spMk id="72" creationId="{14D6D3BE-89DD-4A46-B04D-B75C6CCC2895}"/>
          </ac:spMkLst>
        </pc:spChg>
        <pc:spChg chg="del mod ord">
          <ac:chgData name="Kirsten Kåg Mortensen" userId="2896b428-d8dc-44d6-8e1d-b69bb076778e" providerId="ADAL" clId="{BD554195-EB6C-4124-BD3A-BEFBA47944AE}" dt="2019-02-21T09:23:57.842" v="4889"/>
          <ac:spMkLst>
            <pc:docMk/>
            <pc:sldMk cId="243910502" sldId="258"/>
            <ac:spMk id="74" creationId="{57FE377A-2088-4E96-82D1-3AA45FE7390D}"/>
          </ac:spMkLst>
        </pc:spChg>
        <pc:spChg chg="add del mod ord">
          <ac:chgData name="Kirsten Kåg Mortensen" userId="2896b428-d8dc-44d6-8e1d-b69bb076778e" providerId="ADAL" clId="{BD554195-EB6C-4124-BD3A-BEFBA47944AE}" dt="2019-02-20T10:47:54.997" v="1240"/>
          <ac:spMkLst>
            <pc:docMk/>
            <pc:sldMk cId="243910502" sldId="258"/>
            <ac:spMk id="75" creationId="{62712542-7C57-4C24-A2A7-F640ECE739FB}"/>
          </ac:spMkLst>
        </pc:spChg>
        <pc:spChg chg="add del mod ord">
          <ac:chgData name="Kirsten Kåg Mortensen" userId="2896b428-d8dc-44d6-8e1d-b69bb076778e" providerId="ADAL" clId="{BD554195-EB6C-4124-BD3A-BEFBA47944AE}" dt="2019-02-20T10:47:55.001" v="1242"/>
          <ac:spMkLst>
            <pc:docMk/>
            <pc:sldMk cId="243910502" sldId="258"/>
            <ac:spMk id="76" creationId="{0A51FC73-2613-42BA-A822-B28CF4CED512}"/>
          </ac:spMkLst>
        </pc:spChg>
        <pc:spChg chg="add del mod ord">
          <ac:chgData name="Kirsten Kåg Mortensen" userId="2896b428-d8dc-44d6-8e1d-b69bb076778e" providerId="ADAL" clId="{BD554195-EB6C-4124-BD3A-BEFBA47944AE}" dt="2019-02-20T10:47:55.002" v="1244"/>
          <ac:spMkLst>
            <pc:docMk/>
            <pc:sldMk cId="243910502" sldId="258"/>
            <ac:spMk id="77" creationId="{5C6A57A4-F85F-4C61-8D07-8232DE6BCB03}"/>
          </ac:spMkLst>
        </pc:spChg>
        <pc:spChg chg="add del mod ord">
          <ac:chgData name="Kirsten Kåg Mortensen" userId="2896b428-d8dc-44d6-8e1d-b69bb076778e" providerId="ADAL" clId="{BD554195-EB6C-4124-BD3A-BEFBA47944AE}" dt="2019-02-21T09:23:57.862" v="4917"/>
          <ac:spMkLst>
            <pc:docMk/>
            <pc:sldMk cId="243910502" sldId="258"/>
            <ac:spMk id="78" creationId="{4A7953D6-1810-439B-B174-EB174900992D}"/>
          </ac:spMkLst>
        </pc:spChg>
        <pc:spChg chg="add del mod ord">
          <ac:chgData name="Kirsten Kåg Mortensen" userId="2896b428-d8dc-44d6-8e1d-b69bb076778e" providerId="ADAL" clId="{BD554195-EB6C-4124-BD3A-BEFBA47944AE}" dt="2019-02-21T09:23:57.860" v="4915"/>
          <ac:spMkLst>
            <pc:docMk/>
            <pc:sldMk cId="243910502" sldId="258"/>
            <ac:spMk id="79" creationId="{7655BBCD-9ECF-42E3-857A-6C6690FCEF80}"/>
          </ac:spMkLst>
        </pc:spChg>
        <pc:spChg chg="add del mod ord">
          <ac:chgData name="Kirsten Kåg Mortensen" userId="2896b428-d8dc-44d6-8e1d-b69bb076778e" providerId="ADAL" clId="{BD554195-EB6C-4124-BD3A-BEFBA47944AE}" dt="2019-02-21T09:23:57.852" v="4903"/>
          <ac:spMkLst>
            <pc:docMk/>
            <pc:sldMk cId="243910502" sldId="258"/>
            <ac:spMk id="80" creationId="{11E86CC1-5470-4F2D-AF6E-1E203F7E5B2C}"/>
          </ac:spMkLst>
        </pc:spChg>
        <pc:spChg chg="add del mod ord">
          <ac:chgData name="Kirsten Kåg Mortensen" userId="2896b428-d8dc-44d6-8e1d-b69bb076778e" providerId="ADAL" clId="{BD554195-EB6C-4124-BD3A-BEFBA47944AE}" dt="2019-02-21T09:23:57.836" v="4879"/>
          <ac:spMkLst>
            <pc:docMk/>
            <pc:sldMk cId="243910502" sldId="258"/>
            <ac:spMk id="81" creationId="{2E23F2BE-E111-44A3-8BA0-CA8300B30FDE}"/>
          </ac:spMkLst>
        </pc:spChg>
        <pc:spChg chg="add del mod ord">
          <ac:chgData name="Kirsten Kåg Mortensen" userId="2896b428-d8dc-44d6-8e1d-b69bb076778e" providerId="ADAL" clId="{BD554195-EB6C-4124-BD3A-BEFBA47944AE}" dt="2019-02-21T09:23:57.847" v="4895"/>
          <ac:spMkLst>
            <pc:docMk/>
            <pc:sldMk cId="243910502" sldId="258"/>
            <ac:spMk id="82" creationId="{713A1D51-7193-449F-8EC0-C34F9E44EF7C}"/>
          </ac:spMkLst>
        </pc:spChg>
        <pc:spChg chg="add del mod ord">
          <ac:chgData name="Kirsten Kåg Mortensen" userId="2896b428-d8dc-44d6-8e1d-b69bb076778e" providerId="ADAL" clId="{BD554195-EB6C-4124-BD3A-BEFBA47944AE}" dt="2019-02-21T09:23:57.835" v="4877"/>
          <ac:spMkLst>
            <pc:docMk/>
            <pc:sldMk cId="243910502" sldId="258"/>
            <ac:spMk id="83" creationId="{3F75BE19-305F-4FEE-AA06-DE45294810B3}"/>
          </ac:spMkLst>
        </pc:spChg>
        <pc:spChg chg="add del mod ord">
          <ac:chgData name="Kirsten Kåg Mortensen" userId="2896b428-d8dc-44d6-8e1d-b69bb076778e" providerId="ADAL" clId="{BD554195-EB6C-4124-BD3A-BEFBA47944AE}" dt="2019-02-21T09:23:57.839" v="4883"/>
          <ac:spMkLst>
            <pc:docMk/>
            <pc:sldMk cId="243910502" sldId="258"/>
            <ac:spMk id="84" creationId="{345ACC89-797C-49D1-90A6-38C1A118CE30}"/>
          </ac:spMkLst>
        </pc:spChg>
        <pc:spChg chg="add mod">
          <ac:chgData name="Kirsten Kåg Mortensen" userId="2896b428-d8dc-44d6-8e1d-b69bb076778e" providerId="ADAL" clId="{BD554195-EB6C-4124-BD3A-BEFBA47944AE}" dt="2019-02-21T09:16:56.451" v="3880" actId="27636"/>
          <ac:spMkLst>
            <pc:docMk/>
            <pc:sldMk cId="243910502" sldId="258"/>
            <ac:spMk id="85" creationId="{76B9362C-2C09-4FFE-9C29-6AD857CE41C9}"/>
          </ac:spMkLst>
        </pc:spChg>
        <pc:spChg chg="add mod">
          <ac:chgData name="Kirsten Kåg Mortensen" userId="2896b428-d8dc-44d6-8e1d-b69bb076778e" providerId="ADAL" clId="{BD554195-EB6C-4124-BD3A-BEFBA47944AE}" dt="2019-02-21T09:21:52.922" v="4687" actId="20577"/>
          <ac:spMkLst>
            <pc:docMk/>
            <pc:sldMk cId="243910502" sldId="258"/>
            <ac:spMk id="86" creationId="{FE6C4A8A-8900-4264-A4C8-B6178237BEA3}"/>
          </ac:spMkLst>
        </pc:spChg>
        <pc:spChg chg="add del mod">
          <ac:chgData name="Kirsten Kåg Mortensen" userId="2896b428-d8dc-44d6-8e1d-b69bb076778e" providerId="ADAL" clId="{BD554195-EB6C-4124-BD3A-BEFBA47944AE}" dt="2019-02-21T09:25:24.278" v="4945"/>
          <ac:spMkLst>
            <pc:docMk/>
            <pc:sldMk cId="243910502" sldId="258"/>
            <ac:spMk id="87" creationId="{83063F1A-701F-427D-B8CE-87787D7B3FAF}"/>
          </ac:spMkLst>
        </pc:spChg>
        <pc:spChg chg="add del mod">
          <ac:chgData name="Kirsten Kåg Mortensen" userId="2896b428-d8dc-44d6-8e1d-b69bb076778e" providerId="ADAL" clId="{BD554195-EB6C-4124-BD3A-BEFBA47944AE}" dt="2019-02-21T09:25:27.163" v="4949"/>
          <ac:spMkLst>
            <pc:docMk/>
            <pc:sldMk cId="243910502" sldId="258"/>
            <ac:spMk id="88" creationId="{9EF5A543-D1F6-48EA-A50B-ABCAB8B3DB21}"/>
          </ac:spMkLst>
        </pc:spChg>
        <pc:graphicFrameChg chg="mod ord">
          <ac:chgData name="Kirsten Kåg Mortensen" userId="2896b428-d8dc-44d6-8e1d-b69bb076778e" providerId="ADAL" clId="{BD554195-EB6C-4124-BD3A-BEFBA47944AE}" dt="2019-02-21T09:23:57.887" v="4941"/>
          <ac:graphicFrameMkLst>
            <pc:docMk/>
            <pc:sldMk cId="243910502" sldId="258"/>
            <ac:graphicFrameMk id="66" creationId="{17C8719A-CB86-459C-ADB1-417FB56BF572}"/>
          </ac:graphicFrameMkLst>
        </pc:graphicFrameChg>
        <pc:cxnChg chg="add del mod ord">
          <ac:chgData name="Kirsten Kåg Mortensen" userId="2896b428-d8dc-44d6-8e1d-b69bb076778e" providerId="ADAL" clId="{BD554195-EB6C-4124-BD3A-BEFBA47944AE}" dt="2019-02-21T09:23:57.864" v="4921"/>
          <ac:cxnSpMkLst>
            <pc:docMk/>
            <pc:sldMk cId="243910502" sldId="258"/>
            <ac:cxnSpMk id="16" creationId="{1DB0335E-7CD1-4B69-9113-598930BAF809}"/>
          </ac:cxnSpMkLst>
        </pc:cxnChg>
        <pc:cxnChg chg="add del mod ord">
          <ac:chgData name="Kirsten Kåg Mortensen" userId="2896b428-d8dc-44d6-8e1d-b69bb076778e" providerId="ADAL" clId="{BD554195-EB6C-4124-BD3A-BEFBA47944AE}" dt="2019-02-21T09:23:57.863" v="4919"/>
          <ac:cxnSpMkLst>
            <pc:docMk/>
            <pc:sldMk cId="243910502" sldId="258"/>
            <ac:cxnSpMk id="17" creationId="{5684626A-CBD0-45E7-B191-252BB366CA56}"/>
          </ac:cxnSpMkLst>
        </pc:cxnChg>
        <pc:cxnChg chg="add del mod ord">
          <ac:chgData name="Kirsten Kåg Mortensen" userId="2896b428-d8dc-44d6-8e1d-b69bb076778e" providerId="ADAL" clId="{BD554195-EB6C-4124-BD3A-BEFBA47944AE}" dt="2019-02-20T10:47:55.111" v="1366"/>
          <ac:cxnSpMkLst>
            <pc:docMk/>
            <pc:sldMk cId="243910502" sldId="258"/>
            <ac:cxnSpMk id="18" creationId="{C173B088-1CA8-42CF-807B-ECDE4E2EABC0}"/>
          </ac:cxnSpMkLst>
        </pc:cxnChg>
        <pc:cxnChg chg="add del mod ord">
          <ac:chgData name="Kirsten Kåg Mortensen" userId="2896b428-d8dc-44d6-8e1d-b69bb076778e" providerId="ADAL" clId="{BD554195-EB6C-4124-BD3A-BEFBA47944AE}" dt="2019-02-20T10:47:55.110" v="1364"/>
          <ac:cxnSpMkLst>
            <pc:docMk/>
            <pc:sldMk cId="243910502" sldId="258"/>
            <ac:cxnSpMk id="19" creationId="{6FD921F3-19FC-41CB-AD41-7B9A42D4D523}"/>
          </ac:cxnSpMkLst>
        </pc:cxnChg>
        <pc:cxnChg chg="add del mod ord">
          <ac:chgData name="Kirsten Kåg Mortensen" userId="2896b428-d8dc-44d6-8e1d-b69bb076778e" providerId="ADAL" clId="{BD554195-EB6C-4124-BD3A-BEFBA47944AE}" dt="2019-02-20T10:47:55.109" v="1362"/>
          <ac:cxnSpMkLst>
            <pc:docMk/>
            <pc:sldMk cId="243910502" sldId="258"/>
            <ac:cxnSpMk id="20" creationId="{7DDAF55E-7C21-49D3-94BF-53BCD2BE876C}"/>
          </ac:cxnSpMkLst>
        </pc:cxnChg>
        <pc:cxnChg chg="del mod ord">
          <ac:chgData name="Kirsten Kåg Mortensen" userId="2896b428-d8dc-44d6-8e1d-b69bb076778e" providerId="ADAL" clId="{BD554195-EB6C-4124-BD3A-BEFBA47944AE}" dt="2019-02-21T09:23:57.868" v="4927"/>
          <ac:cxnSpMkLst>
            <pc:docMk/>
            <pc:sldMk cId="243910502" sldId="258"/>
            <ac:cxnSpMk id="32" creationId="{3EF44FF3-4982-4095-B275-B15A12522C1B}"/>
          </ac:cxnSpMkLst>
        </pc:cxnChg>
        <pc:cxnChg chg="del mod ord">
          <ac:chgData name="Kirsten Kåg Mortensen" userId="2896b428-d8dc-44d6-8e1d-b69bb076778e" providerId="ADAL" clId="{BD554195-EB6C-4124-BD3A-BEFBA47944AE}" dt="2019-02-21T09:23:57.870" v="4929"/>
          <ac:cxnSpMkLst>
            <pc:docMk/>
            <pc:sldMk cId="243910502" sldId="258"/>
            <ac:cxnSpMk id="33" creationId="{B42DDE82-C9F9-4160-8E78-E80BD118D010}"/>
          </ac:cxnSpMkLst>
        </pc:cxnChg>
        <pc:cxnChg chg="del mod ord">
          <ac:chgData name="Kirsten Kåg Mortensen" userId="2896b428-d8dc-44d6-8e1d-b69bb076778e" providerId="ADAL" clId="{BD554195-EB6C-4124-BD3A-BEFBA47944AE}" dt="2019-02-21T09:23:57.876" v="4939"/>
          <ac:cxnSpMkLst>
            <pc:docMk/>
            <pc:sldMk cId="243910502" sldId="258"/>
            <ac:cxnSpMk id="34" creationId="{C41FE938-6654-4CC5-9E7B-B547B45F7CB8}"/>
          </ac:cxnSpMkLst>
        </pc:cxnChg>
        <pc:cxnChg chg="del mod ord">
          <ac:chgData name="Kirsten Kåg Mortensen" userId="2896b428-d8dc-44d6-8e1d-b69bb076778e" providerId="ADAL" clId="{BD554195-EB6C-4124-BD3A-BEFBA47944AE}" dt="2019-02-21T09:23:57.871" v="4931"/>
          <ac:cxnSpMkLst>
            <pc:docMk/>
            <pc:sldMk cId="243910502" sldId="258"/>
            <ac:cxnSpMk id="35" creationId="{01801BB1-5EB9-410C-BA23-65B00F3B1768}"/>
          </ac:cxnSpMkLst>
        </pc:cxnChg>
        <pc:cxnChg chg="del mod ord">
          <ac:chgData name="Kirsten Kåg Mortensen" userId="2896b428-d8dc-44d6-8e1d-b69bb076778e" providerId="ADAL" clId="{BD554195-EB6C-4124-BD3A-BEFBA47944AE}" dt="2019-02-21T09:23:57.873" v="4935"/>
          <ac:cxnSpMkLst>
            <pc:docMk/>
            <pc:sldMk cId="243910502" sldId="258"/>
            <ac:cxnSpMk id="36" creationId="{C331ECF4-173A-4BEC-9269-58F3AB847F48}"/>
          </ac:cxnSpMkLst>
        </pc:cxnChg>
        <pc:cxnChg chg="del mod ord">
          <ac:chgData name="Kirsten Kåg Mortensen" userId="2896b428-d8dc-44d6-8e1d-b69bb076778e" providerId="ADAL" clId="{BD554195-EB6C-4124-BD3A-BEFBA47944AE}" dt="2019-02-21T09:23:57.867" v="4925"/>
          <ac:cxnSpMkLst>
            <pc:docMk/>
            <pc:sldMk cId="243910502" sldId="258"/>
            <ac:cxnSpMk id="37" creationId="{80C2B4FA-9575-437A-8553-AA9F58C35796}"/>
          </ac:cxnSpMkLst>
        </pc:cxnChg>
        <pc:cxnChg chg="del mod ord">
          <ac:chgData name="Kirsten Kåg Mortensen" userId="2896b428-d8dc-44d6-8e1d-b69bb076778e" providerId="ADAL" clId="{BD554195-EB6C-4124-BD3A-BEFBA47944AE}" dt="2019-02-21T09:23:57.866" v="4923"/>
          <ac:cxnSpMkLst>
            <pc:docMk/>
            <pc:sldMk cId="243910502" sldId="258"/>
            <ac:cxnSpMk id="38" creationId="{567B4D3A-A581-4572-AC41-A09117BCA5E1}"/>
          </ac:cxnSpMkLst>
        </pc:cxnChg>
        <pc:cxnChg chg="del mod ord">
          <ac:chgData name="Kirsten Kåg Mortensen" userId="2896b428-d8dc-44d6-8e1d-b69bb076778e" providerId="ADAL" clId="{BD554195-EB6C-4124-BD3A-BEFBA47944AE}" dt="2019-02-20T10:49:30.272" v="1877"/>
          <ac:cxnSpMkLst>
            <pc:docMk/>
            <pc:sldMk cId="243910502" sldId="258"/>
            <ac:cxnSpMk id="39" creationId="{1BD95358-682F-49E5-B322-E1BF2F26B83B}"/>
          </ac:cxnSpMkLst>
        </pc:cxnChg>
        <pc:cxnChg chg="del mod ord">
          <ac:chgData name="Kirsten Kåg Mortensen" userId="2896b428-d8dc-44d6-8e1d-b69bb076778e" providerId="ADAL" clId="{BD554195-EB6C-4124-BD3A-BEFBA47944AE}" dt="2019-02-20T10:48:40.213" v="1546"/>
          <ac:cxnSpMkLst>
            <pc:docMk/>
            <pc:sldMk cId="243910502" sldId="258"/>
            <ac:cxnSpMk id="40" creationId="{2C3D4A96-4F42-409E-81DE-1E49C7551F71}"/>
          </ac:cxnSpMkLst>
        </pc:cxnChg>
        <pc:cxnChg chg="del mod ord">
          <ac:chgData name="Kirsten Kåg Mortensen" userId="2896b428-d8dc-44d6-8e1d-b69bb076778e" providerId="ADAL" clId="{BD554195-EB6C-4124-BD3A-BEFBA47944AE}" dt="2019-02-21T09:23:57.872" v="4933"/>
          <ac:cxnSpMkLst>
            <pc:docMk/>
            <pc:sldMk cId="243910502" sldId="258"/>
            <ac:cxnSpMk id="41" creationId="{259A1BDB-C1D2-40EE-82C8-401B30830EE5}"/>
          </ac:cxnSpMkLst>
        </pc:cxnChg>
        <pc:cxnChg chg="del mod ord">
          <ac:chgData name="Kirsten Kåg Mortensen" userId="2896b428-d8dc-44d6-8e1d-b69bb076778e" providerId="ADAL" clId="{BD554195-EB6C-4124-BD3A-BEFBA47944AE}" dt="2019-02-21T09:23:57.875" v="4937"/>
          <ac:cxnSpMkLst>
            <pc:docMk/>
            <pc:sldMk cId="243910502" sldId="258"/>
            <ac:cxnSpMk id="42" creationId="{7E0A79E1-3FDE-463E-9105-B6408D0D6944}"/>
          </ac:cxnSpMkLst>
        </pc:cxnChg>
      </pc:sldChg>
      <pc:sldChg chg="addSp delSp modSp add">
        <pc:chgData name="Kirsten Kåg Mortensen" userId="2896b428-d8dc-44d6-8e1d-b69bb076778e" providerId="ADAL" clId="{BD554195-EB6C-4124-BD3A-BEFBA47944AE}" dt="2019-02-21T10:13:00.700" v="5852" actId="1076"/>
        <pc:sldMkLst>
          <pc:docMk/>
          <pc:sldMk cId="2084076313" sldId="259"/>
        </pc:sldMkLst>
        <pc:spChg chg="mod">
          <ac:chgData name="Kirsten Kåg Mortensen" userId="2896b428-d8dc-44d6-8e1d-b69bb076778e" providerId="ADAL" clId="{BD554195-EB6C-4124-BD3A-BEFBA47944AE}" dt="2019-02-21T10:12:10.656" v="5825"/>
          <ac:spMkLst>
            <pc:docMk/>
            <pc:sldMk cId="2084076313" sldId="259"/>
            <ac:spMk id="3" creationId="{1987111B-C125-4533-9550-66B80947DA1E}"/>
          </ac:spMkLst>
        </pc:spChg>
        <pc:spChg chg="add mod">
          <ac:chgData name="Kirsten Kåg Mortensen" userId="2896b428-d8dc-44d6-8e1d-b69bb076778e" providerId="ADAL" clId="{BD554195-EB6C-4124-BD3A-BEFBA47944AE}" dt="2019-02-21T10:13:00.700" v="5852" actId="1076"/>
          <ac:spMkLst>
            <pc:docMk/>
            <pc:sldMk cId="2084076313" sldId="259"/>
            <ac:spMk id="4" creationId="{6D5FF968-BD4A-4F3D-9EA6-7640CDBA7F78}"/>
          </ac:spMkLst>
        </pc:spChg>
        <pc:picChg chg="add mod">
          <ac:chgData name="Kirsten Kåg Mortensen" userId="2896b428-d8dc-44d6-8e1d-b69bb076778e" providerId="ADAL" clId="{BD554195-EB6C-4124-BD3A-BEFBA47944AE}" dt="2019-02-21T10:12:14.763" v="5826" actId="1076"/>
          <ac:picMkLst>
            <pc:docMk/>
            <pc:sldMk cId="2084076313" sldId="259"/>
            <ac:picMk id="2" creationId="{013C2939-A72D-472D-B624-4632C7F4DC64}"/>
          </ac:picMkLst>
        </pc:picChg>
        <pc:picChg chg="del">
          <ac:chgData name="Kirsten Kåg Mortensen" userId="2896b428-d8dc-44d6-8e1d-b69bb076778e" providerId="ADAL" clId="{BD554195-EB6C-4124-BD3A-BEFBA47944AE}" dt="2019-02-21T10:10:54.174" v="5738" actId="478"/>
          <ac:picMkLst>
            <pc:docMk/>
            <pc:sldMk cId="2084076313" sldId="259"/>
            <ac:picMk id="16" creationId="{E27C38F8-F537-4C04-9338-535596E5DDCA}"/>
          </ac:picMkLst>
        </pc:picChg>
      </pc:sldChg>
      <pc:sldChg chg="addSp modSp add">
        <pc:chgData name="Kirsten Kåg Mortensen" userId="2896b428-d8dc-44d6-8e1d-b69bb076778e" providerId="ADAL" clId="{BD554195-EB6C-4124-BD3A-BEFBA47944AE}" dt="2019-02-20T10:43:02.521" v="118"/>
        <pc:sldMkLst>
          <pc:docMk/>
          <pc:sldMk cId="3732722922" sldId="260"/>
        </pc:sldMkLst>
        <pc:spChg chg="mod ord">
          <ac:chgData name="Kirsten Kåg Mortensen" userId="2896b428-d8dc-44d6-8e1d-b69bb076778e" providerId="ADAL" clId="{BD554195-EB6C-4124-BD3A-BEFBA47944AE}" dt="2019-02-20T10:43:02.383" v="116" actId="20577"/>
          <ac:spMkLst>
            <pc:docMk/>
            <pc:sldMk cId="3732722922" sldId="260"/>
            <ac:spMk id="2" creationId="{90CE6BDE-E138-4AA9-9F67-645072E26948}"/>
          </ac:spMkLst>
        </pc:spChg>
        <pc:spChg chg="mod ord">
          <ac:chgData name="Kirsten Kåg Mortensen" userId="2896b428-d8dc-44d6-8e1d-b69bb076778e" providerId="ADAL" clId="{BD554195-EB6C-4124-BD3A-BEFBA47944AE}" dt="2019-02-20T10:42:58.406" v="99"/>
          <ac:spMkLst>
            <pc:docMk/>
            <pc:sldMk cId="3732722922" sldId="260"/>
            <ac:spMk id="3" creationId="{4D9FCB50-5986-4BE7-A1A5-A5CED489E85B}"/>
          </ac:spMkLst>
        </pc:spChg>
        <pc:spChg chg="add mod ord">
          <ac:chgData name="Kirsten Kåg Mortensen" userId="2896b428-d8dc-44d6-8e1d-b69bb076778e" providerId="ADAL" clId="{BD554195-EB6C-4124-BD3A-BEFBA47944AE}" dt="2019-02-20T10:42:43.525" v="53"/>
          <ac:spMkLst>
            <pc:docMk/>
            <pc:sldMk cId="3732722922" sldId="260"/>
            <ac:spMk id="4" creationId="{23D9F1D4-524A-4CC5-8B44-D7EA69C3A9B1}"/>
          </ac:spMkLst>
        </pc:spChg>
        <pc:graphicFrameChg chg="add mod ord">
          <ac:chgData name="Kirsten Kåg Mortensen" userId="2896b428-d8dc-44d6-8e1d-b69bb076778e" providerId="ADAL" clId="{BD554195-EB6C-4124-BD3A-BEFBA47944AE}" dt="2019-02-20T10:43:02.521" v="118"/>
          <ac:graphicFrameMkLst>
            <pc:docMk/>
            <pc:sldMk cId="3732722922" sldId="260"/>
            <ac:graphicFrameMk id="5" creationId="{16830912-3938-4D42-BDD1-27F5B6D92C1B}"/>
          </ac:graphicFrameMkLst>
        </pc:graphicFrameChg>
      </pc:sldChg>
      <pc:sldChg chg="modSp add modTransition">
        <pc:chgData name="Kirsten Kåg Mortensen" userId="2896b428-d8dc-44d6-8e1d-b69bb076778e" providerId="ADAL" clId="{BD554195-EB6C-4124-BD3A-BEFBA47944AE}" dt="2019-02-21T10:13:26.513" v="5857"/>
        <pc:sldMkLst>
          <pc:docMk/>
          <pc:sldMk cId="655954" sldId="263"/>
        </pc:sldMkLst>
        <pc:spChg chg="mod">
          <ac:chgData name="Kirsten Kåg Mortensen" userId="2896b428-d8dc-44d6-8e1d-b69bb076778e" providerId="ADAL" clId="{BD554195-EB6C-4124-BD3A-BEFBA47944AE}" dt="2019-02-21T10:13:26.513" v="5857"/>
          <ac:spMkLst>
            <pc:docMk/>
            <pc:sldMk cId="655954" sldId="263"/>
            <ac:spMk id="3" creationId="{069F0713-781A-4FA3-AD3C-AF3ED83C6705}"/>
          </ac:spMkLst>
        </pc:spChg>
      </pc:sldChg>
      <pc:sldChg chg="addSp modSp add">
        <pc:chgData name="Kirsten Kåg Mortensen" userId="2896b428-d8dc-44d6-8e1d-b69bb076778e" providerId="ADAL" clId="{BD554195-EB6C-4124-BD3A-BEFBA47944AE}" dt="2019-02-21T10:11:55.059" v="5822"/>
        <pc:sldMkLst>
          <pc:docMk/>
          <pc:sldMk cId="1996439464" sldId="266"/>
        </pc:sldMkLst>
        <pc:spChg chg="add mod ord">
          <ac:chgData name="Kirsten Kåg Mortensen" userId="2896b428-d8dc-44d6-8e1d-b69bb076778e" providerId="ADAL" clId="{BD554195-EB6C-4124-BD3A-BEFBA47944AE}" dt="2019-02-20T13:44:07.637" v="3200"/>
          <ac:spMkLst>
            <pc:docMk/>
            <pc:sldMk cId="1996439464" sldId="266"/>
            <ac:spMk id="2" creationId="{C7CE4EFD-9D4B-4AC1-B5D4-C25E0DAB4C46}"/>
          </ac:spMkLst>
        </pc:spChg>
        <pc:spChg chg="mod ord">
          <ac:chgData name="Kirsten Kåg Mortensen" userId="2896b428-d8dc-44d6-8e1d-b69bb076778e" providerId="ADAL" clId="{BD554195-EB6C-4124-BD3A-BEFBA47944AE}" dt="2019-02-20T13:44:07.638" v="3202"/>
          <ac:spMkLst>
            <pc:docMk/>
            <pc:sldMk cId="1996439464" sldId="266"/>
            <ac:spMk id="4" creationId="{1E764EFB-2E0E-4ABF-BD46-4A2FBE1D5D73}"/>
          </ac:spMkLst>
        </pc:spChg>
        <pc:spChg chg="mod ord">
          <ac:chgData name="Kirsten Kåg Mortensen" userId="2896b428-d8dc-44d6-8e1d-b69bb076778e" providerId="ADAL" clId="{BD554195-EB6C-4124-BD3A-BEFBA47944AE}" dt="2019-02-21T10:11:55.059" v="5822"/>
          <ac:spMkLst>
            <pc:docMk/>
            <pc:sldMk cId="1996439464" sldId="266"/>
            <ac:spMk id="5" creationId="{AE53CEE2-4856-443B-89F0-FADD463A0B93}"/>
          </ac:spMkLst>
        </pc:spChg>
        <pc:spChg chg="mod ord">
          <ac:chgData name="Kirsten Kåg Mortensen" userId="2896b428-d8dc-44d6-8e1d-b69bb076778e" providerId="ADAL" clId="{BD554195-EB6C-4124-BD3A-BEFBA47944AE}" dt="2019-02-20T13:44:07.641" v="3206"/>
          <ac:spMkLst>
            <pc:docMk/>
            <pc:sldMk cId="1996439464" sldId="266"/>
            <ac:spMk id="6" creationId="{32BDFC51-3001-4812-9928-69DDF2DD5DF0}"/>
          </ac:spMkLst>
        </pc:spChg>
        <pc:graphicFrameChg chg="add mod ord">
          <ac:chgData name="Kirsten Kåg Mortensen" userId="2896b428-d8dc-44d6-8e1d-b69bb076778e" providerId="ADAL" clId="{BD554195-EB6C-4124-BD3A-BEFBA47944AE}" dt="2019-02-20T13:44:07.688" v="3220"/>
          <ac:graphicFrameMkLst>
            <pc:docMk/>
            <pc:sldMk cId="1996439464" sldId="266"/>
            <ac:graphicFrameMk id="3" creationId="{78032C68-9BD9-444F-81CB-86F2D323AD09}"/>
          </ac:graphicFrameMkLst>
        </pc:graphicFrameChg>
      </pc:sldChg>
      <pc:sldChg chg="modSp add">
        <pc:chgData name="Kirsten Kåg Mortensen" userId="2896b428-d8dc-44d6-8e1d-b69bb076778e" providerId="ADAL" clId="{BD554195-EB6C-4124-BD3A-BEFBA47944AE}" dt="2019-02-21T10:11:59.151" v="5823"/>
        <pc:sldMkLst>
          <pc:docMk/>
          <pc:sldMk cId="1351992450" sldId="269"/>
        </pc:sldMkLst>
        <pc:spChg chg="mod">
          <ac:chgData name="Kirsten Kåg Mortensen" userId="2896b428-d8dc-44d6-8e1d-b69bb076778e" providerId="ADAL" clId="{BD554195-EB6C-4124-BD3A-BEFBA47944AE}" dt="2019-02-21T10:11:59.151" v="5823"/>
          <ac:spMkLst>
            <pc:docMk/>
            <pc:sldMk cId="1351992450" sldId="269"/>
            <ac:spMk id="5" creationId="{56937CD7-B1B4-41DC-AB13-E6E5961A16D5}"/>
          </ac:spMkLst>
        </pc:spChg>
        <pc:spChg chg="mod">
          <ac:chgData name="Kirsten Kåg Mortensen" userId="2896b428-d8dc-44d6-8e1d-b69bb076778e" providerId="ADAL" clId="{BD554195-EB6C-4124-BD3A-BEFBA47944AE}" dt="2019-02-20T10:53:00.293" v="3052" actId="27636"/>
          <ac:spMkLst>
            <pc:docMk/>
            <pc:sldMk cId="1351992450" sldId="269"/>
            <ac:spMk id="6" creationId="{45E228EE-308A-45B2-B307-8C4EBA61C7FB}"/>
          </ac:spMkLst>
        </pc:spChg>
      </pc:sldChg>
      <pc:sldChg chg="modSp add">
        <pc:chgData name="Kirsten Kåg Mortensen" userId="2896b428-d8dc-44d6-8e1d-b69bb076778e" providerId="ADAL" clId="{BD554195-EB6C-4124-BD3A-BEFBA47944AE}" dt="2019-02-21T10:12:02.858" v="5824"/>
        <pc:sldMkLst>
          <pc:docMk/>
          <pc:sldMk cId="1574601038" sldId="270"/>
        </pc:sldMkLst>
        <pc:spChg chg="mod">
          <ac:chgData name="Kirsten Kåg Mortensen" userId="2896b428-d8dc-44d6-8e1d-b69bb076778e" providerId="ADAL" clId="{BD554195-EB6C-4124-BD3A-BEFBA47944AE}" dt="2019-02-21T10:12:02.858" v="5824"/>
          <ac:spMkLst>
            <pc:docMk/>
            <pc:sldMk cId="1574601038" sldId="270"/>
            <ac:spMk id="3" creationId="{829E7084-EE32-4EEA-9082-083FB0CF4195}"/>
          </ac:spMkLst>
        </pc:spChg>
      </pc:sldChg>
      <pc:sldChg chg="modSp add">
        <pc:chgData name="Kirsten Kåg Mortensen" userId="2896b428-d8dc-44d6-8e1d-b69bb076778e" providerId="ADAL" clId="{BD554195-EB6C-4124-BD3A-BEFBA47944AE}" dt="2019-02-20T14:10:02.530" v="3242" actId="20577"/>
        <pc:sldMkLst>
          <pc:docMk/>
          <pc:sldMk cId="1222654378" sldId="271"/>
        </pc:sldMkLst>
        <pc:spChg chg="mod">
          <ac:chgData name="Kirsten Kåg Mortensen" userId="2896b428-d8dc-44d6-8e1d-b69bb076778e" providerId="ADAL" clId="{BD554195-EB6C-4124-BD3A-BEFBA47944AE}" dt="2019-02-20T14:09:24.799" v="3232" actId="20577"/>
          <ac:spMkLst>
            <pc:docMk/>
            <pc:sldMk cId="1222654378" sldId="271"/>
            <ac:spMk id="51" creationId="{3BD0AA8C-2025-4F2A-9B3C-6700D5FDD2FC}"/>
          </ac:spMkLst>
        </pc:spChg>
        <pc:spChg chg="mod">
          <ac:chgData name="Kirsten Kåg Mortensen" userId="2896b428-d8dc-44d6-8e1d-b69bb076778e" providerId="ADAL" clId="{BD554195-EB6C-4124-BD3A-BEFBA47944AE}" dt="2019-02-20T14:10:02.530" v="3242" actId="20577"/>
          <ac:spMkLst>
            <pc:docMk/>
            <pc:sldMk cId="1222654378" sldId="271"/>
            <ac:spMk id="127" creationId="{C76B1EA8-B031-4D8A-97C2-99220C439840}"/>
          </ac:spMkLst>
        </pc:spChg>
      </pc:sldChg>
      <pc:sldChg chg="addSp modSp add delCm">
        <pc:chgData name="Kirsten Kåg Mortensen" userId="2896b428-d8dc-44d6-8e1d-b69bb076778e" providerId="ADAL" clId="{BD554195-EB6C-4124-BD3A-BEFBA47944AE}" dt="2019-02-21T10:13:18.918" v="5856"/>
        <pc:sldMkLst>
          <pc:docMk/>
          <pc:sldMk cId="2213649430" sldId="272"/>
        </pc:sldMkLst>
        <pc:spChg chg="add mod">
          <ac:chgData name="Kirsten Kåg Mortensen" userId="2896b428-d8dc-44d6-8e1d-b69bb076778e" providerId="ADAL" clId="{BD554195-EB6C-4124-BD3A-BEFBA47944AE}" dt="2019-02-21T09:31:29.126" v="5088" actId="20577"/>
          <ac:spMkLst>
            <pc:docMk/>
            <pc:sldMk cId="2213649430" sldId="272"/>
            <ac:spMk id="2" creationId="{4E99FCD2-C4C0-43EB-A607-182E5BE1D8A5}"/>
          </ac:spMkLst>
        </pc:spChg>
        <pc:spChg chg="mod">
          <ac:chgData name="Kirsten Kåg Mortensen" userId="2896b428-d8dc-44d6-8e1d-b69bb076778e" providerId="ADAL" clId="{BD554195-EB6C-4124-BD3A-BEFBA47944AE}" dt="2019-02-21T10:13:18.918" v="5856"/>
          <ac:spMkLst>
            <pc:docMk/>
            <pc:sldMk cId="2213649430" sldId="272"/>
            <ac:spMk id="7" creationId="{8AB71436-0F8E-4778-9EE0-EFE989E255F6}"/>
          </ac:spMkLst>
        </pc:spChg>
        <pc:spChg chg="mod">
          <ac:chgData name="Kirsten Kåg Mortensen" userId="2896b428-d8dc-44d6-8e1d-b69bb076778e" providerId="ADAL" clId="{BD554195-EB6C-4124-BD3A-BEFBA47944AE}" dt="2019-02-21T09:30:28.594" v="5038" actId="20577"/>
          <ac:spMkLst>
            <pc:docMk/>
            <pc:sldMk cId="2213649430" sldId="272"/>
            <ac:spMk id="8" creationId="{C9E6889B-94B0-4FF4-9514-5B16EBCF540C}"/>
          </ac:spMkLst>
        </pc:spChg>
      </pc:sldChg>
      <pc:sldChg chg="addSp modSp add">
        <pc:chgData name="Kirsten Kåg Mortensen" userId="2896b428-d8dc-44d6-8e1d-b69bb076778e" providerId="ADAL" clId="{BD554195-EB6C-4124-BD3A-BEFBA47944AE}" dt="2019-02-21T10:13:29.704" v="5858"/>
        <pc:sldMkLst>
          <pc:docMk/>
          <pc:sldMk cId="1900275682" sldId="275"/>
        </pc:sldMkLst>
        <pc:spChg chg="add mod ord">
          <ac:chgData name="Kirsten Kåg Mortensen" userId="2896b428-d8dc-44d6-8e1d-b69bb076778e" providerId="ADAL" clId="{BD554195-EB6C-4124-BD3A-BEFBA47944AE}" dt="2019-02-21T09:32:25.355" v="5115" actId="6549"/>
          <ac:spMkLst>
            <pc:docMk/>
            <pc:sldMk cId="1900275682" sldId="275"/>
            <ac:spMk id="2" creationId="{DF3F0429-9F2E-4E7F-BA99-869A10F99DDB}"/>
          </ac:spMkLst>
        </pc:spChg>
        <pc:spChg chg="add mod">
          <ac:chgData name="Kirsten Kåg Mortensen" userId="2896b428-d8dc-44d6-8e1d-b69bb076778e" providerId="ADAL" clId="{BD554195-EB6C-4124-BD3A-BEFBA47944AE}" dt="2019-02-21T09:46:25.751" v="5244" actId="1037"/>
          <ac:spMkLst>
            <pc:docMk/>
            <pc:sldMk cId="1900275682" sldId="275"/>
            <ac:spMk id="4" creationId="{1E83E134-0ECA-4D38-A5E8-5ABC14F7F4E8}"/>
          </ac:spMkLst>
        </pc:spChg>
        <pc:spChg chg="mod ord">
          <ac:chgData name="Kirsten Kåg Mortensen" userId="2896b428-d8dc-44d6-8e1d-b69bb076778e" providerId="ADAL" clId="{BD554195-EB6C-4124-BD3A-BEFBA47944AE}" dt="2019-02-21T09:32:41.707" v="5129" actId="1076"/>
          <ac:spMkLst>
            <pc:docMk/>
            <pc:sldMk cId="1900275682" sldId="275"/>
            <ac:spMk id="7" creationId="{E89388E0-4CA9-4305-82BF-DB6DC5B18E52}"/>
          </ac:spMkLst>
        </pc:spChg>
        <pc:spChg chg="mod ord">
          <ac:chgData name="Kirsten Kåg Mortensen" userId="2896b428-d8dc-44d6-8e1d-b69bb076778e" providerId="ADAL" clId="{BD554195-EB6C-4124-BD3A-BEFBA47944AE}" dt="2019-02-21T10:13:29.704" v="5858"/>
          <ac:spMkLst>
            <pc:docMk/>
            <pc:sldMk cId="1900275682" sldId="275"/>
            <ac:spMk id="8" creationId="{0E697FC7-7023-468D-902C-CACD262DA533}"/>
          </ac:spMkLst>
        </pc:spChg>
        <pc:spChg chg="mod ord">
          <ac:chgData name="Kirsten Kåg Mortensen" userId="2896b428-d8dc-44d6-8e1d-b69bb076778e" providerId="ADAL" clId="{BD554195-EB6C-4124-BD3A-BEFBA47944AE}" dt="2019-02-21T09:32:37.988" v="5128" actId="1076"/>
          <ac:spMkLst>
            <pc:docMk/>
            <pc:sldMk cId="1900275682" sldId="275"/>
            <ac:spMk id="9" creationId="{50A14F65-C5E4-4107-A1DF-A7DB99D9417A}"/>
          </ac:spMkLst>
        </pc:spChg>
        <pc:spChg chg="add mod">
          <ac:chgData name="Kirsten Kåg Mortensen" userId="2896b428-d8dc-44d6-8e1d-b69bb076778e" providerId="ADAL" clId="{BD554195-EB6C-4124-BD3A-BEFBA47944AE}" dt="2019-02-21T09:32:58.215" v="5172" actId="20577"/>
          <ac:spMkLst>
            <pc:docMk/>
            <pc:sldMk cId="1900275682" sldId="275"/>
            <ac:spMk id="10" creationId="{A7016256-6FBF-4FE9-ABAA-F082E7594538}"/>
          </ac:spMkLst>
        </pc:spChg>
        <pc:graphicFrameChg chg="add mod ord">
          <ac:chgData name="Kirsten Kåg Mortensen" userId="2896b428-d8dc-44d6-8e1d-b69bb076778e" providerId="ADAL" clId="{BD554195-EB6C-4124-BD3A-BEFBA47944AE}" dt="2019-02-21T09:32:42.243" v="5131"/>
          <ac:graphicFrameMkLst>
            <pc:docMk/>
            <pc:sldMk cId="1900275682" sldId="275"/>
            <ac:graphicFrameMk id="3" creationId="{1A8C94AA-42C2-446A-8926-7CB7F7841574}"/>
          </ac:graphicFrameMkLst>
        </pc:graphicFrameChg>
      </pc:sldChg>
      <pc:sldChg chg="addSp modSp add">
        <pc:chgData name="Kirsten Kåg Mortensen" userId="2896b428-d8dc-44d6-8e1d-b69bb076778e" providerId="ADAL" clId="{BD554195-EB6C-4124-BD3A-BEFBA47944AE}" dt="2019-02-21T10:13:06.949" v="5853"/>
        <pc:sldMkLst>
          <pc:docMk/>
          <pc:sldMk cId="2745436807" sldId="277"/>
        </pc:sldMkLst>
        <pc:spChg chg="add mod ord">
          <ac:chgData name="Kirsten Kåg Mortensen" userId="2896b428-d8dc-44d6-8e1d-b69bb076778e" providerId="ADAL" clId="{BD554195-EB6C-4124-BD3A-BEFBA47944AE}" dt="2019-02-21T09:26:43.142" v="4989"/>
          <ac:spMkLst>
            <pc:docMk/>
            <pc:sldMk cId="2745436807" sldId="277"/>
            <ac:spMk id="2" creationId="{561C4C2B-B988-4BD6-94B2-E325C314AD7A}"/>
          </ac:spMkLst>
        </pc:spChg>
        <pc:spChg chg="mod ord">
          <ac:chgData name="Kirsten Kåg Mortensen" userId="2896b428-d8dc-44d6-8e1d-b69bb076778e" providerId="ADAL" clId="{BD554195-EB6C-4124-BD3A-BEFBA47944AE}" dt="2019-02-21T09:26:46.992" v="5029" actId="20577"/>
          <ac:spMkLst>
            <pc:docMk/>
            <pc:sldMk cId="2745436807" sldId="277"/>
            <ac:spMk id="5" creationId="{B81F188E-AE4D-48F4-8361-4F2759B24BAC}"/>
          </ac:spMkLst>
        </pc:spChg>
        <pc:spChg chg="mod ord">
          <ac:chgData name="Kirsten Kåg Mortensen" userId="2896b428-d8dc-44d6-8e1d-b69bb076778e" providerId="ADAL" clId="{BD554195-EB6C-4124-BD3A-BEFBA47944AE}" dt="2019-02-21T10:13:06.949" v="5853"/>
          <ac:spMkLst>
            <pc:docMk/>
            <pc:sldMk cId="2745436807" sldId="277"/>
            <ac:spMk id="6" creationId="{4FF03B38-4B0F-4401-8226-DD6C8C384924}"/>
          </ac:spMkLst>
        </pc:spChg>
        <pc:spChg chg="mod ord">
          <ac:chgData name="Kirsten Kåg Mortensen" userId="2896b428-d8dc-44d6-8e1d-b69bb076778e" providerId="ADAL" clId="{BD554195-EB6C-4124-BD3A-BEFBA47944AE}" dt="2019-02-21T09:26:43.145" v="4995"/>
          <ac:spMkLst>
            <pc:docMk/>
            <pc:sldMk cId="2745436807" sldId="277"/>
            <ac:spMk id="7" creationId="{8AEA0E36-7E4A-4827-AFC1-815CCBC851C6}"/>
          </ac:spMkLst>
        </pc:spChg>
        <pc:graphicFrameChg chg="add mod ord">
          <ac:chgData name="Kirsten Kåg Mortensen" userId="2896b428-d8dc-44d6-8e1d-b69bb076778e" providerId="ADAL" clId="{BD554195-EB6C-4124-BD3A-BEFBA47944AE}" dt="2019-02-21T09:26:47.528" v="5031"/>
          <ac:graphicFrameMkLst>
            <pc:docMk/>
            <pc:sldMk cId="2745436807" sldId="277"/>
            <ac:graphicFrameMk id="3" creationId="{EDDF9767-8B84-42FF-9FBD-F5B1DDC5DBF6}"/>
          </ac:graphicFrameMkLst>
        </pc:graphicFrameChg>
      </pc:sldChg>
      <pc:sldChg chg="modSp add">
        <pc:chgData name="Kirsten Kåg Mortensen" userId="2896b428-d8dc-44d6-8e1d-b69bb076778e" providerId="ADAL" clId="{BD554195-EB6C-4124-BD3A-BEFBA47944AE}" dt="2019-02-21T10:14:25.685" v="5906"/>
        <pc:sldMkLst>
          <pc:docMk/>
          <pc:sldMk cId="2798829870" sldId="278"/>
        </pc:sldMkLst>
        <pc:spChg chg="mod">
          <ac:chgData name="Kirsten Kåg Mortensen" userId="2896b428-d8dc-44d6-8e1d-b69bb076778e" providerId="ADAL" clId="{BD554195-EB6C-4124-BD3A-BEFBA47944AE}" dt="2019-02-21T10:14:25.685" v="5906"/>
          <ac:spMkLst>
            <pc:docMk/>
            <pc:sldMk cId="2798829870" sldId="278"/>
            <ac:spMk id="3" creationId="{6AB77044-1FE3-4384-A9CD-D1349136A6D6}"/>
          </ac:spMkLst>
        </pc:spChg>
        <pc:spChg chg="mod">
          <ac:chgData name="Kirsten Kåg Mortensen" userId="2896b428-d8dc-44d6-8e1d-b69bb076778e" providerId="ADAL" clId="{BD554195-EB6C-4124-BD3A-BEFBA47944AE}" dt="2019-02-20T10:55:34.958" v="3119" actId="27636"/>
          <ac:spMkLst>
            <pc:docMk/>
            <pc:sldMk cId="2798829870" sldId="278"/>
            <ac:spMk id="4" creationId="{9F66843C-2801-41BB-A836-94BF3FE85A6B}"/>
          </ac:spMkLst>
        </pc:spChg>
      </pc:sldChg>
      <pc:sldChg chg="addSp modSp add">
        <pc:chgData name="Kirsten Kåg Mortensen" userId="2896b428-d8dc-44d6-8e1d-b69bb076778e" providerId="ADAL" clId="{BD554195-EB6C-4124-BD3A-BEFBA47944AE}" dt="2019-02-21T10:14:08.501" v="5903" actId="20577"/>
        <pc:sldMkLst>
          <pc:docMk/>
          <pc:sldMk cId="1511812720" sldId="281"/>
        </pc:sldMkLst>
        <pc:spChg chg="mod ord">
          <ac:chgData name="Kirsten Kåg Mortensen" userId="2896b428-d8dc-44d6-8e1d-b69bb076778e" providerId="ADAL" clId="{BD554195-EB6C-4124-BD3A-BEFBA47944AE}" dt="2019-02-21T09:46:46.609" v="5259" actId="20577"/>
          <ac:spMkLst>
            <pc:docMk/>
            <pc:sldMk cId="1511812720" sldId="281"/>
            <ac:spMk id="2" creationId="{7D6AC777-1DDF-43D4-8D6B-E5BC0EF65D6A}"/>
          </ac:spMkLst>
        </pc:spChg>
        <pc:spChg chg="mod ord">
          <ac:chgData name="Kirsten Kåg Mortensen" userId="2896b428-d8dc-44d6-8e1d-b69bb076778e" providerId="ADAL" clId="{BD554195-EB6C-4124-BD3A-BEFBA47944AE}" dt="2019-02-21T10:13:33.842" v="5859"/>
          <ac:spMkLst>
            <pc:docMk/>
            <pc:sldMk cId="1511812720" sldId="281"/>
            <ac:spMk id="3" creationId="{C5910AE0-2591-49D0-AA9E-68386ACD896A}"/>
          </ac:spMkLst>
        </pc:spChg>
        <pc:spChg chg="mod ord">
          <ac:chgData name="Kirsten Kåg Mortensen" userId="2896b428-d8dc-44d6-8e1d-b69bb076778e" providerId="ADAL" clId="{BD554195-EB6C-4124-BD3A-BEFBA47944AE}" dt="2019-02-21T10:14:08.501" v="5903" actId="20577"/>
          <ac:spMkLst>
            <pc:docMk/>
            <pc:sldMk cId="1511812720" sldId="281"/>
            <ac:spMk id="4" creationId="{89CF6299-A420-4F8F-9231-E820E47C5B69}"/>
          </ac:spMkLst>
        </pc:spChg>
        <pc:spChg chg="add mod ord">
          <ac:chgData name="Kirsten Kåg Mortensen" userId="2896b428-d8dc-44d6-8e1d-b69bb076778e" providerId="ADAL" clId="{BD554195-EB6C-4124-BD3A-BEFBA47944AE}" dt="2019-02-20T14:15:21.777" v="3436"/>
          <ac:spMkLst>
            <pc:docMk/>
            <pc:sldMk cId="1511812720" sldId="281"/>
            <ac:spMk id="5" creationId="{78813885-3719-46E4-BACC-769B72A146DF}"/>
          </ac:spMkLst>
        </pc:spChg>
        <pc:graphicFrameChg chg="add mod ord">
          <ac:chgData name="Kirsten Kåg Mortensen" userId="2896b428-d8dc-44d6-8e1d-b69bb076778e" providerId="ADAL" clId="{BD554195-EB6C-4124-BD3A-BEFBA47944AE}" dt="2019-02-21T09:46:47.107" v="5261"/>
          <ac:graphicFrameMkLst>
            <pc:docMk/>
            <pc:sldMk cId="1511812720" sldId="281"/>
            <ac:graphicFrameMk id="6" creationId="{EF28B325-27B4-4FB1-9280-74AB190D75BB}"/>
          </ac:graphicFrameMkLst>
        </pc:graphicFrameChg>
      </pc:sldChg>
      <pc:sldChg chg="addSp modSp add">
        <pc:chgData name="Kirsten Kåg Mortensen" userId="2896b428-d8dc-44d6-8e1d-b69bb076778e" providerId="ADAL" clId="{BD554195-EB6C-4124-BD3A-BEFBA47944AE}" dt="2019-02-21T10:14:17.251" v="5904"/>
        <pc:sldMkLst>
          <pc:docMk/>
          <pc:sldMk cId="3477255982" sldId="282"/>
        </pc:sldMkLst>
        <pc:spChg chg="mod">
          <ac:chgData name="Kirsten Kåg Mortensen" userId="2896b428-d8dc-44d6-8e1d-b69bb076778e" providerId="ADAL" clId="{BD554195-EB6C-4124-BD3A-BEFBA47944AE}" dt="2019-02-21T10:14:17.251" v="5904"/>
          <ac:spMkLst>
            <pc:docMk/>
            <pc:sldMk cId="3477255982" sldId="282"/>
            <ac:spMk id="3" creationId="{C5910AE0-2591-49D0-AA9E-68386ACD896A}"/>
          </ac:spMkLst>
        </pc:spChg>
        <pc:spChg chg="mod">
          <ac:chgData name="Kirsten Kåg Mortensen" userId="2896b428-d8dc-44d6-8e1d-b69bb076778e" providerId="ADAL" clId="{BD554195-EB6C-4124-BD3A-BEFBA47944AE}" dt="2019-02-21T09:47:40.128" v="5396" actId="20577"/>
          <ac:spMkLst>
            <pc:docMk/>
            <pc:sldMk cId="3477255982" sldId="282"/>
            <ac:spMk id="4" creationId="{89CF6299-A420-4F8F-9231-E820E47C5B69}"/>
          </ac:spMkLst>
        </pc:spChg>
        <pc:spChg chg="add mod">
          <ac:chgData name="Kirsten Kåg Mortensen" userId="2896b428-d8dc-44d6-8e1d-b69bb076778e" providerId="ADAL" clId="{BD554195-EB6C-4124-BD3A-BEFBA47944AE}" dt="2019-02-21T09:56:56.354" v="5730" actId="1076"/>
          <ac:spMkLst>
            <pc:docMk/>
            <pc:sldMk cId="3477255982" sldId="282"/>
            <ac:spMk id="5" creationId="{5775D343-E503-43CE-8EA4-69192EE72C12}"/>
          </ac:spMkLst>
        </pc:spChg>
        <pc:spChg chg="add mod">
          <ac:chgData name="Kirsten Kåg Mortensen" userId="2896b428-d8dc-44d6-8e1d-b69bb076778e" providerId="ADAL" clId="{BD554195-EB6C-4124-BD3A-BEFBA47944AE}" dt="2019-02-21T09:56:56.354" v="5730" actId="1076"/>
          <ac:spMkLst>
            <pc:docMk/>
            <pc:sldMk cId="3477255982" sldId="282"/>
            <ac:spMk id="6" creationId="{35C761D7-8712-437C-A823-BC1233EC6EC8}"/>
          </ac:spMkLst>
        </pc:spChg>
      </pc:sldChg>
      <pc:sldChg chg="addSp delSp modSp add">
        <pc:chgData name="Kirsten Kåg Mortensen" userId="2896b428-d8dc-44d6-8e1d-b69bb076778e" providerId="ADAL" clId="{BD554195-EB6C-4124-BD3A-BEFBA47944AE}" dt="2019-02-21T10:14:21.752" v="5905"/>
        <pc:sldMkLst>
          <pc:docMk/>
          <pc:sldMk cId="3524856939" sldId="283"/>
        </pc:sldMkLst>
        <pc:spChg chg="del">
          <ac:chgData name="Kirsten Kåg Mortensen" userId="2896b428-d8dc-44d6-8e1d-b69bb076778e" providerId="ADAL" clId="{BD554195-EB6C-4124-BD3A-BEFBA47944AE}" dt="2019-02-21T09:56:48.004" v="5714"/>
          <ac:spMkLst>
            <pc:docMk/>
            <pc:sldMk cId="3524856939" sldId="283"/>
            <ac:spMk id="2" creationId="{7D6AC777-1DDF-43D4-8D6B-E5BC0EF65D6A}"/>
          </ac:spMkLst>
        </pc:spChg>
        <pc:spChg chg="mod">
          <ac:chgData name="Kirsten Kåg Mortensen" userId="2896b428-d8dc-44d6-8e1d-b69bb076778e" providerId="ADAL" clId="{BD554195-EB6C-4124-BD3A-BEFBA47944AE}" dt="2019-02-21T10:14:21.752" v="5905"/>
          <ac:spMkLst>
            <pc:docMk/>
            <pc:sldMk cId="3524856939" sldId="283"/>
            <ac:spMk id="3" creationId="{C5910AE0-2591-49D0-AA9E-68386ACD896A}"/>
          </ac:spMkLst>
        </pc:spChg>
        <pc:spChg chg="del mod">
          <ac:chgData name="Kirsten Kåg Mortensen" userId="2896b428-d8dc-44d6-8e1d-b69bb076778e" providerId="ADAL" clId="{BD554195-EB6C-4124-BD3A-BEFBA47944AE}" dt="2019-02-21T09:56:48.004" v="5714"/>
          <ac:spMkLst>
            <pc:docMk/>
            <pc:sldMk cId="3524856939" sldId="283"/>
            <ac:spMk id="4" creationId="{89CF6299-A420-4F8F-9231-E820E47C5B69}"/>
          </ac:spMkLst>
        </pc:spChg>
        <pc:spChg chg="add mod">
          <ac:chgData name="Kirsten Kåg Mortensen" userId="2896b428-d8dc-44d6-8e1d-b69bb076778e" providerId="ADAL" clId="{BD554195-EB6C-4124-BD3A-BEFBA47944AE}" dt="2019-02-21T09:57:13.465" v="5735" actId="1076"/>
          <ac:spMkLst>
            <pc:docMk/>
            <pc:sldMk cId="3524856939" sldId="283"/>
            <ac:spMk id="5" creationId="{69B1B299-68C2-4306-9600-275626C8EA43}"/>
          </ac:spMkLst>
        </pc:spChg>
        <pc:spChg chg="add mod">
          <ac:chgData name="Kirsten Kåg Mortensen" userId="2896b428-d8dc-44d6-8e1d-b69bb076778e" providerId="ADAL" clId="{BD554195-EB6C-4124-BD3A-BEFBA47944AE}" dt="2019-02-21T09:57:13.465" v="5735" actId="1076"/>
          <ac:spMkLst>
            <pc:docMk/>
            <pc:sldMk cId="3524856939" sldId="283"/>
            <ac:spMk id="6" creationId="{4F0AA8DB-FDDA-4779-9988-202A2B95D92B}"/>
          </ac:spMkLst>
        </pc:spChg>
        <pc:spChg chg="add del mod">
          <ac:chgData name="Kirsten Kåg Mortensen" userId="2896b428-d8dc-44d6-8e1d-b69bb076778e" providerId="ADAL" clId="{BD554195-EB6C-4124-BD3A-BEFBA47944AE}" dt="2019-02-21T09:57:05.251" v="5731" actId="478"/>
          <ac:spMkLst>
            <pc:docMk/>
            <pc:sldMk cId="3524856939" sldId="283"/>
            <ac:spMk id="9" creationId="{95DD58F1-6909-428B-B248-ED4DFF6AF572}"/>
          </ac:spMkLst>
        </pc:spChg>
        <pc:spChg chg="add del mod">
          <ac:chgData name="Kirsten Kåg Mortensen" userId="2896b428-d8dc-44d6-8e1d-b69bb076778e" providerId="ADAL" clId="{BD554195-EB6C-4124-BD3A-BEFBA47944AE}" dt="2019-02-21T09:57:06.716" v="5734" actId="478"/>
          <ac:spMkLst>
            <pc:docMk/>
            <pc:sldMk cId="3524856939" sldId="283"/>
            <ac:spMk id="10" creationId="{51FAAC59-B78D-4D3A-95ED-BB4DF8649AB3}"/>
          </ac:spMkLst>
        </pc:spChg>
        <pc:graphicFrameChg chg="add mod ord">
          <ac:chgData name="Kirsten Kåg Mortensen" userId="2896b428-d8dc-44d6-8e1d-b69bb076778e" providerId="ADAL" clId="{BD554195-EB6C-4124-BD3A-BEFBA47944AE}" dt="2019-02-21T09:57:05.771" v="5733"/>
          <ac:graphicFrameMkLst>
            <pc:docMk/>
            <pc:sldMk cId="3524856939" sldId="283"/>
            <ac:graphicFrameMk id="11" creationId="{142A89A7-5B4A-4D8A-BAD4-95E6CB1FBD94}"/>
          </ac:graphicFrameMkLst>
        </pc:graphicFrameChg>
        <pc:picChg chg="add mod">
          <ac:chgData name="Kirsten Kåg Mortensen" userId="2896b428-d8dc-44d6-8e1d-b69bb076778e" providerId="ADAL" clId="{BD554195-EB6C-4124-BD3A-BEFBA47944AE}" dt="2019-02-21T09:57:16.130" v="5736" actId="1076"/>
          <ac:picMkLst>
            <pc:docMk/>
            <pc:sldMk cId="3524856939" sldId="283"/>
            <ac:picMk id="8" creationId="{FB58E173-0E9D-46D7-ADE4-F47E5D09A717}"/>
          </ac:picMkLst>
        </pc:picChg>
      </pc:sldChg>
      <pc:sldChg chg="addSp modSp add">
        <pc:chgData name="Kirsten Kåg Mortensen" userId="2896b428-d8dc-44d6-8e1d-b69bb076778e" providerId="ADAL" clId="{BD554195-EB6C-4124-BD3A-BEFBA47944AE}" dt="2019-02-21T10:13:11.083" v="5854"/>
        <pc:sldMkLst>
          <pc:docMk/>
          <pc:sldMk cId="4003012522" sldId="284"/>
        </pc:sldMkLst>
        <pc:spChg chg="add mod ord">
          <ac:chgData name="Kirsten Kåg Mortensen" userId="2896b428-d8dc-44d6-8e1d-b69bb076778e" providerId="ADAL" clId="{BD554195-EB6C-4124-BD3A-BEFBA47944AE}" dt="2019-02-20T14:13:26.950" v="3287"/>
          <ac:spMkLst>
            <pc:docMk/>
            <pc:sldMk cId="4003012522" sldId="284"/>
            <ac:spMk id="2" creationId="{65760E1C-051E-4483-84EA-4972C3F0A1B5}"/>
          </ac:spMkLst>
        </pc:spChg>
        <pc:spChg chg="mod ord">
          <ac:chgData name="Kirsten Kåg Mortensen" userId="2896b428-d8dc-44d6-8e1d-b69bb076778e" providerId="ADAL" clId="{BD554195-EB6C-4124-BD3A-BEFBA47944AE}" dt="2019-02-20T14:13:27.869" v="3313" actId="20577"/>
          <ac:spMkLst>
            <pc:docMk/>
            <pc:sldMk cId="4003012522" sldId="284"/>
            <ac:spMk id="5" creationId="{B81F188E-AE4D-48F4-8361-4F2759B24BAC}"/>
          </ac:spMkLst>
        </pc:spChg>
        <pc:spChg chg="mod ord">
          <ac:chgData name="Kirsten Kåg Mortensen" userId="2896b428-d8dc-44d6-8e1d-b69bb076778e" providerId="ADAL" clId="{BD554195-EB6C-4124-BD3A-BEFBA47944AE}" dt="2019-02-21T10:13:11.083" v="5854"/>
          <ac:spMkLst>
            <pc:docMk/>
            <pc:sldMk cId="4003012522" sldId="284"/>
            <ac:spMk id="6" creationId="{4FF03B38-4B0F-4401-8226-DD6C8C384924}"/>
          </ac:spMkLst>
        </pc:spChg>
        <pc:spChg chg="mod ord">
          <ac:chgData name="Kirsten Kåg Mortensen" userId="2896b428-d8dc-44d6-8e1d-b69bb076778e" providerId="ADAL" clId="{BD554195-EB6C-4124-BD3A-BEFBA47944AE}" dt="2019-02-20T14:13:26.955" v="3293"/>
          <ac:spMkLst>
            <pc:docMk/>
            <pc:sldMk cId="4003012522" sldId="284"/>
            <ac:spMk id="7" creationId="{8AEA0E36-7E4A-4827-AFC1-815CCBC851C6}"/>
          </ac:spMkLst>
        </pc:spChg>
        <pc:graphicFrameChg chg="add mod ord">
          <ac:chgData name="Kirsten Kåg Mortensen" userId="2896b428-d8dc-44d6-8e1d-b69bb076778e" providerId="ADAL" clId="{BD554195-EB6C-4124-BD3A-BEFBA47944AE}" dt="2019-02-20T14:13:28.405" v="3315"/>
          <ac:graphicFrameMkLst>
            <pc:docMk/>
            <pc:sldMk cId="4003012522" sldId="284"/>
            <ac:graphicFrameMk id="3" creationId="{C55F70A6-7A08-4AB1-B613-7F5B9975E3FC}"/>
          </ac:graphicFrameMkLst>
        </pc:graphicFrameChg>
      </pc:sldChg>
      <pc:sldChg chg="addSp modSp add">
        <pc:chgData name="Kirsten Kåg Mortensen" userId="2896b428-d8dc-44d6-8e1d-b69bb076778e" providerId="ADAL" clId="{BD554195-EB6C-4124-BD3A-BEFBA47944AE}" dt="2019-02-21T10:13:14.855" v="5855"/>
        <pc:sldMkLst>
          <pc:docMk/>
          <pc:sldMk cId="832029688" sldId="285"/>
        </pc:sldMkLst>
        <pc:spChg chg="add mod ord">
          <ac:chgData name="Kirsten Kåg Mortensen" userId="2896b428-d8dc-44d6-8e1d-b69bb076778e" providerId="ADAL" clId="{BD554195-EB6C-4124-BD3A-BEFBA47944AE}" dt="2019-02-20T14:13:37.929" v="3364"/>
          <ac:spMkLst>
            <pc:docMk/>
            <pc:sldMk cId="832029688" sldId="285"/>
            <ac:spMk id="2" creationId="{AA23FC39-1396-420A-87B6-1B05B42B10E3}"/>
          </ac:spMkLst>
        </pc:spChg>
        <pc:spChg chg="mod ord">
          <ac:chgData name="Kirsten Kåg Mortensen" userId="2896b428-d8dc-44d6-8e1d-b69bb076778e" providerId="ADAL" clId="{BD554195-EB6C-4124-BD3A-BEFBA47944AE}" dt="2019-02-20T14:13:39.305" v="3396" actId="20577"/>
          <ac:spMkLst>
            <pc:docMk/>
            <pc:sldMk cId="832029688" sldId="285"/>
            <ac:spMk id="5" creationId="{B81F188E-AE4D-48F4-8361-4F2759B24BAC}"/>
          </ac:spMkLst>
        </pc:spChg>
        <pc:spChg chg="mod ord">
          <ac:chgData name="Kirsten Kåg Mortensen" userId="2896b428-d8dc-44d6-8e1d-b69bb076778e" providerId="ADAL" clId="{BD554195-EB6C-4124-BD3A-BEFBA47944AE}" dt="2019-02-21T10:13:14.855" v="5855"/>
          <ac:spMkLst>
            <pc:docMk/>
            <pc:sldMk cId="832029688" sldId="285"/>
            <ac:spMk id="6" creationId="{4FF03B38-4B0F-4401-8226-DD6C8C384924}"/>
          </ac:spMkLst>
        </pc:spChg>
        <pc:spChg chg="mod ord">
          <ac:chgData name="Kirsten Kåg Mortensen" userId="2896b428-d8dc-44d6-8e1d-b69bb076778e" providerId="ADAL" clId="{BD554195-EB6C-4124-BD3A-BEFBA47944AE}" dt="2019-02-21T09:27:48.174" v="5034" actId="14100"/>
          <ac:spMkLst>
            <pc:docMk/>
            <pc:sldMk cId="832029688" sldId="285"/>
            <ac:spMk id="7" creationId="{8AEA0E36-7E4A-4827-AFC1-815CCBC851C6}"/>
          </ac:spMkLst>
        </pc:spChg>
        <pc:graphicFrameChg chg="add mod ord">
          <ac:chgData name="Kirsten Kåg Mortensen" userId="2896b428-d8dc-44d6-8e1d-b69bb076778e" providerId="ADAL" clId="{BD554195-EB6C-4124-BD3A-BEFBA47944AE}" dt="2019-02-20T14:13:39.853" v="3398"/>
          <ac:graphicFrameMkLst>
            <pc:docMk/>
            <pc:sldMk cId="832029688" sldId="285"/>
            <ac:graphicFrameMk id="3" creationId="{7B09A673-776F-44AD-BEC1-43EE26EB07B9}"/>
          </ac:graphicFrameMkLst>
        </pc:graphicFrameChg>
      </pc:sldChg>
      <pc:sldChg chg="addSp modSp add">
        <pc:chgData name="Kirsten Kåg Mortensen" userId="2896b428-d8dc-44d6-8e1d-b69bb076778e" providerId="ADAL" clId="{BD554195-EB6C-4124-BD3A-BEFBA47944AE}" dt="2019-02-21T10:11:48.502" v="5821" actId="27636"/>
        <pc:sldMkLst>
          <pc:docMk/>
          <pc:sldMk cId="636344464" sldId="300"/>
        </pc:sldMkLst>
        <pc:spChg chg="mod ord">
          <ac:chgData name="Kirsten Kåg Mortensen" userId="2896b428-d8dc-44d6-8e1d-b69bb076778e" providerId="ADAL" clId="{BD554195-EB6C-4124-BD3A-BEFBA47944AE}" dt="2019-02-21T10:11:45.053" v="5801"/>
          <ac:spMkLst>
            <pc:docMk/>
            <pc:sldMk cId="636344464" sldId="300"/>
            <ac:spMk id="2" creationId="{0E2A783D-5560-4A02-916D-D7AFFB240B1C}"/>
          </ac:spMkLst>
        </pc:spChg>
        <pc:spChg chg="mod ord">
          <ac:chgData name="Kirsten Kåg Mortensen" userId="2896b428-d8dc-44d6-8e1d-b69bb076778e" providerId="ADAL" clId="{BD554195-EB6C-4124-BD3A-BEFBA47944AE}" dt="2019-02-21T10:11:48.502" v="5821" actId="27636"/>
          <ac:spMkLst>
            <pc:docMk/>
            <pc:sldMk cId="636344464" sldId="300"/>
            <ac:spMk id="3" creationId="{EA73CFDF-9DE5-43EF-A937-5073207370DC}"/>
          </ac:spMkLst>
        </pc:spChg>
        <pc:spChg chg="mod ord">
          <ac:chgData name="Kirsten Kåg Mortensen" userId="2896b428-d8dc-44d6-8e1d-b69bb076778e" providerId="ADAL" clId="{BD554195-EB6C-4124-BD3A-BEFBA47944AE}" dt="2019-02-21T10:11:45.053" v="5805"/>
          <ac:spMkLst>
            <pc:docMk/>
            <pc:sldMk cId="636344464" sldId="300"/>
            <ac:spMk id="4" creationId="{ADC2A66E-83E7-48C4-B148-5DA8A0A18A1C}"/>
          </ac:spMkLst>
        </pc:spChg>
        <pc:spChg chg="add mod ord">
          <ac:chgData name="Kirsten Kåg Mortensen" userId="2896b428-d8dc-44d6-8e1d-b69bb076778e" providerId="ADAL" clId="{BD554195-EB6C-4124-BD3A-BEFBA47944AE}" dt="2019-02-21T10:11:45.053" v="5799"/>
          <ac:spMkLst>
            <pc:docMk/>
            <pc:sldMk cId="636344464" sldId="300"/>
            <ac:spMk id="5" creationId="{0EBB19A4-23CF-4DDC-BCF6-40F2153A966E}"/>
          </ac:spMkLst>
        </pc:spChg>
        <pc:graphicFrameChg chg="add mod ord">
          <ac:chgData name="Kirsten Kåg Mortensen" userId="2896b428-d8dc-44d6-8e1d-b69bb076778e" providerId="ADAL" clId="{BD554195-EB6C-4124-BD3A-BEFBA47944AE}" dt="2019-02-21T10:11:45.173" v="5819"/>
          <ac:graphicFrameMkLst>
            <pc:docMk/>
            <pc:sldMk cId="636344464" sldId="300"/>
            <ac:graphicFrameMk id="6" creationId="{6FD5B7B9-1A55-49B5-B51E-5E37FFCC9EDF}"/>
          </ac:graphicFrameMkLst>
        </pc:graphicFrameChg>
      </pc:sldChg>
      <pc:sldChg chg="modSp add">
        <pc:chgData name="Kirsten Kåg Mortensen" userId="2896b428-d8dc-44d6-8e1d-b69bb076778e" providerId="ADAL" clId="{BD554195-EB6C-4124-BD3A-BEFBA47944AE}" dt="2019-02-21T09:16:22.095" v="3784" actId="20577"/>
        <pc:sldMkLst>
          <pc:docMk/>
          <pc:sldMk cId="548994703" sldId="307"/>
        </pc:sldMkLst>
        <pc:spChg chg="mod">
          <ac:chgData name="Kirsten Kåg Mortensen" userId="2896b428-d8dc-44d6-8e1d-b69bb076778e" providerId="ADAL" clId="{BD554195-EB6C-4124-BD3A-BEFBA47944AE}" dt="2019-02-21T09:16:22.095" v="3784" actId="20577"/>
          <ac:spMkLst>
            <pc:docMk/>
            <pc:sldMk cId="548994703" sldId="307"/>
            <ac:spMk id="3" creationId="{D5C14F24-D8F0-434E-9F3A-DB3DC307AF0D}"/>
          </ac:spMkLst>
        </pc:spChg>
        <pc:spChg chg="mod">
          <ac:chgData name="Kirsten Kåg Mortensen" userId="2896b428-d8dc-44d6-8e1d-b69bb076778e" providerId="ADAL" clId="{BD554195-EB6C-4124-BD3A-BEFBA47944AE}" dt="2019-02-20T13:43:41.661" v="3160" actId="255"/>
          <ac:spMkLst>
            <pc:docMk/>
            <pc:sldMk cId="548994703" sldId="307"/>
            <ac:spMk id="4" creationId="{536EAA64-9220-47FA-BB26-9DA727C51FDD}"/>
          </ac:spMkLst>
        </pc:spChg>
        <pc:spChg chg="mod">
          <ac:chgData name="Kirsten Kåg Mortensen" userId="2896b428-d8dc-44d6-8e1d-b69bb076778e" providerId="ADAL" clId="{BD554195-EB6C-4124-BD3A-BEFBA47944AE}" dt="2019-02-20T12:23:40.965" v="3149" actId="6549"/>
          <ac:spMkLst>
            <pc:docMk/>
            <pc:sldMk cId="548994703" sldId="307"/>
            <ac:spMk id="6" creationId="{A98145C2-E655-4497-BBCA-73ABF1E1AF9B}"/>
          </ac:spMkLst>
        </pc:spChg>
        <pc:graphicFrameChg chg="mod">
          <ac:chgData name="Kirsten Kåg Mortensen" userId="2896b428-d8dc-44d6-8e1d-b69bb076778e" providerId="ADAL" clId="{BD554195-EB6C-4124-BD3A-BEFBA47944AE}" dt="2019-02-20T12:23:40.983" v="3151"/>
          <ac:graphicFrameMkLst>
            <pc:docMk/>
            <pc:sldMk cId="548994703" sldId="307"/>
            <ac:graphicFrameMk id="5" creationId="{DF048062-BBF3-4E86-AB3A-48B2EA13A71E}"/>
          </ac:graphicFrameMkLst>
        </pc:graphicFrameChg>
      </pc:sldChg>
      <pc:sldChg chg="addSp modSp add">
        <pc:chgData name="Kirsten Kåg Mortensen" userId="2896b428-d8dc-44d6-8e1d-b69bb076778e" providerId="ADAL" clId="{BD554195-EB6C-4124-BD3A-BEFBA47944AE}" dt="2019-02-21T10:21:18.362" v="5954"/>
        <pc:sldMkLst>
          <pc:docMk/>
          <pc:sldMk cId="2157218156" sldId="308"/>
        </pc:sldMkLst>
        <pc:spChg chg="mod ord">
          <ac:chgData name="Kirsten Kåg Mortensen" userId="2896b428-d8dc-44d6-8e1d-b69bb076778e" providerId="ADAL" clId="{BD554195-EB6C-4124-BD3A-BEFBA47944AE}" dt="2019-02-21T10:21:18.362" v="5950"/>
          <ac:spMkLst>
            <pc:docMk/>
            <pc:sldMk cId="2157218156" sldId="308"/>
            <ac:spMk id="2" creationId="{3E11985A-F432-4ED4-810F-A668AEC9993C}"/>
          </ac:spMkLst>
        </pc:spChg>
        <pc:spChg chg="mod ord">
          <ac:chgData name="Kirsten Kåg Mortensen" userId="2896b428-d8dc-44d6-8e1d-b69bb076778e" providerId="ADAL" clId="{BD554195-EB6C-4124-BD3A-BEFBA47944AE}" dt="2019-02-21T10:21:18.362" v="5952"/>
          <ac:spMkLst>
            <pc:docMk/>
            <pc:sldMk cId="2157218156" sldId="308"/>
            <ac:spMk id="3" creationId="{C1C8245E-2C35-4EA6-934D-8E2C1DE5B126}"/>
          </ac:spMkLst>
        </pc:spChg>
        <pc:spChg chg="add mod ord">
          <ac:chgData name="Kirsten Kåg Mortensen" userId="2896b428-d8dc-44d6-8e1d-b69bb076778e" providerId="ADAL" clId="{BD554195-EB6C-4124-BD3A-BEFBA47944AE}" dt="2019-02-21T10:21:18.362" v="5946"/>
          <ac:spMkLst>
            <pc:docMk/>
            <pc:sldMk cId="2157218156" sldId="308"/>
            <ac:spMk id="5" creationId="{4E99D260-40D5-4096-A230-803EB587F9A9}"/>
          </ac:spMkLst>
        </pc:spChg>
        <pc:graphicFrameChg chg="mod ord">
          <ac:chgData name="Kirsten Kåg Mortensen" userId="2896b428-d8dc-44d6-8e1d-b69bb076778e" providerId="ADAL" clId="{BD554195-EB6C-4124-BD3A-BEFBA47944AE}" dt="2019-02-21T10:21:18.362" v="5954"/>
          <ac:graphicFrameMkLst>
            <pc:docMk/>
            <pc:sldMk cId="2157218156" sldId="308"/>
            <ac:graphicFrameMk id="4" creationId="{5010534B-04FB-48B5-B8E7-970C3F651159}"/>
          </ac:graphicFrameMkLst>
        </pc:graphicFrameChg>
        <pc:picChg chg="mod ord">
          <ac:chgData name="Kirsten Kåg Mortensen" userId="2896b428-d8dc-44d6-8e1d-b69bb076778e" providerId="ADAL" clId="{BD554195-EB6C-4124-BD3A-BEFBA47944AE}" dt="2019-02-21T10:21:18.362" v="5948"/>
          <ac:picMkLst>
            <pc:docMk/>
            <pc:sldMk cId="2157218156" sldId="308"/>
            <ac:picMk id="21" creationId="{F5DBB077-B989-483A-81E7-A972F33AFD99}"/>
          </ac:picMkLst>
        </pc:picChg>
      </pc:sldChg>
      <pc:sldChg chg="addSp delSp modSp add">
        <pc:chgData name="Kirsten Kåg Mortensen" userId="2896b428-d8dc-44d6-8e1d-b69bb076778e" providerId="ADAL" clId="{BD554195-EB6C-4124-BD3A-BEFBA47944AE}" dt="2019-02-21T10:25:08.368" v="6012" actId="113"/>
        <pc:sldMkLst>
          <pc:docMk/>
          <pc:sldMk cId="3359062670" sldId="309"/>
        </pc:sldMkLst>
        <pc:spChg chg="del">
          <ac:chgData name="Kirsten Kåg Mortensen" userId="2896b428-d8dc-44d6-8e1d-b69bb076778e" providerId="ADAL" clId="{BD554195-EB6C-4124-BD3A-BEFBA47944AE}" dt="2019-02-21T10:23:00.198" v="5973" actId="478"/>
          <ac:spMkLst>
            <pc:docMk/>
            <pc:sldMk cId="3359062670" sldId="309"/>
            <ac:spMk id="2" creationId="{64DC0FCD-8CD2-4616-822A-B489094F2796}"/>
          </ac:spMkLst>
        </pc:spChg>
        <pc:spChg chg="add mod">
          <ac:chgData name="Kirsten Kåg Mortensen" userId="2896b428-d8dc-44d6-8e1d-b69bb076778e" providerId="ADAL" clId="{BD554195-EB6C-4124-BD3A-BEFBA47944AE}" dt="2019-02-21T10:25:08.368" v="6012" actId="113"/>
          <ac:spMkLst>
            <pc:docMk/>
            <pc:sldMk cId="3359062670" sldId="309"/>
            <ac:spMk id="4" creationId="{15FA06F3-BE37-44F2-8270-C5BB9356DF72}"/>
          </ac:spMkLst>
        </pc:spChg>
        <pc:spChg chg="add del mod">
          <ac:chgData name="Kirsten Kåg Mortensen" userId="2896b428-d8dc-44d6-8e1d-b69bb076778e" providerId="ADAL" clId="{BD554195-EB6C-4124-BD3A-BEFBA47944AE}" dt="2019-02-21T10:23:03.313" v="5988" actId="478"/>
          <ac:spMkLst>
            <pc:docMk/>
            <pc:sldMk cId="3359062670" sldId="309"/>
            <ac:spMk id="7" creationId="{1D483FD9-44FE-4434-8D07-CF69501BDF51}"/>
          </ac:spMkLst>
        </pc:spChg>
        <pc:spChg chg="add mod">
          <ac:chgData name="Kirsten Kåg Mortensen" userId="2896b428-d8dc-44d6-8e1d-b69bb076778e" providerId="ADAL" clId="{BD554195-EB6C-4124-BD3A-BEFBA47944AE}" dt="2019-02-21T10:23:52.151" v="6001" actId="1076"/>
          <ac:spMkLst>
            <pc:docMk/>
            <pc:sldMk cId="3359062670" sldId="309"/>
            <ac:spMk id="9" creationId="{5D6B5CC8-6221-4D75-A9FB-82F4E80181BF}"/>
          </ac:spMkLst>
        </pc:spChg>
        <pc:spChg chg="add mod">
          <ac:chgData name="Kirsten Kåg Mortensen" userId="2896b428-d8dc-44d6-8e1d-b69bb076778e" providerId="ADAL" clId="{BD554195-EB6C-4124-BD3A-BEFBA47944AE}" dt="2019-02-21T10:23:52.151" v="6001" actId="1076"/>
          <ac:spMkLst>
            <pc:docMk/>
            <pc:sldMk cId="3359062670" sldId="309"/>
            <ac:spMk id="10" creationId="{11DDC871-E670-426A-9F1F-E411DA87902F}"/>
          </ac:spMkLst>
        </pc:spChg>
        <pc:spChg chg="add mod">
          <ac:chgData name="Kirsten Kåg Mortensen" userId="2896b428-d8dc-44d6-8e1d-b69bb076778e" providerId="ADAL" clId="{BD554195-EB6C-4124-BD3A-BEFBA47944AE}" dt="2019-02-21T10:24:48.066" v="6007" actId="1076"/>
          <ac:spMkLst>
            <pc:docMk/>
            <pc:sldMk cId="3359062670" sldId="309"/>
            <ac:spMk id="11" creationId="{EE5D4444-C606-43BD-8358-7956370D3F78}"/>
          </ac:spMkLst>
        </pc:spChg>
        <pc:graphicFrameChg chg="add mod ord">
          <ac:chgData name="Kirsten Kåg Mortensen" userId="2896b428-d8dc-44d6-8e1d-b69bb076778e" providerId="ADAL" clId="{BD554195-EB6C-4124-BD3A-BEFBA47944AE}" dt="2019-02-21T10:23:03.835" v="5990"/>
          <ac:graphicFrameMkLst>
            <pc:docMk/>
            <pc:sldMk cId="3359062670" sldId="309"/>
            <ac:graphicFrameMk id="8" creationId="{7EDB3A64-A36F-4525-A8A2-9B9A9363BAD9}"/>
          </ac:graphicFrameMkLst>
        </pc:graphicFrameChg>
        <pc:picChg chg="mod">
          <ac:chgData name="Kirsten Kåg Mortensen" userId="2896b428-d8dc-44d6-8e1d-b69bb076778e" providerId="ADAL" clId="{BD554195-EB6C-4124-BD3A-BEFBA47944AE}" dt="2019-02-21T10:23:27.226" v="5998" actId="1076"/>
          <ac:picMkLst>
            <pc:docMk/>
            <pc:sldMk cId="3359062670" sldId="309"/>
            <ac:picMk id="5" creationId="{4B204A22-F0E3-47CE-8CBD-A05F7E914BE4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C6A3C5-D038-AF48-8248-1EC1BAB0F660}" type="datetimeFigureOut">
              <a:rPr lang="da-DK" smtClean="0"/>
              <a:t>22-02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241425"/>
            <a:ext cx="53594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A0114A-87C3-AE42-9FE6-947C2632DDE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1195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02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03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05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07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09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10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212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814" algn="l" defTabSz="713203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8766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609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540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6856C-1270-41DC-A6F7-50545A246C19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6189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DE9EE-56FE-449C-A62C-C8EA30BA507A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6191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Sammen med pilotskolerne er der udviklet et gruppetræ, der burde dække de mest grundlæggende behov på skolerne for samarbejdsrum og postlister.</a:t>
            </a:r>
          </a:p>
          <a:p>
            <a:endParaRPr lang="da-DK"/>
          </a:p>
          <a:p>
            <a:r>
              <a:rPr lang="da-DK"/>
              <a:t>Vi anbefaler, at skolens grupper udarbejdes med udgangspunkt i gruppetræet, men at det selvfølgelig skal tilpasses lokale forhold – så har I fx andre opdelinger eller har organiseret jer på andre måder på jeres skole, skal grupperne selvfølgelig afspejle dette</a:t>
            </a:r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DE9EE-56FE-449C-A62C-C8EA30BA507A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00232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DE9EE-56FE-449C-A62C-C8EA30BA507A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0850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DE9EE-56FE-449C-A62C-C8EA30BA507A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5261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>
              <a:buFont typeface="Wingdings" panose="05000000000000000000" pitchFamily="2" charset="2"/>
              <a:buChar char="q"/>
            </a:pPr>
            <a:endParaRPr lang="da-DK" sz="1200"/>
          </a:p>
          <a:p>
            <a:pPr fontAlgn="base">
              <a:buFont typeface="Wingdings" panose="05000000000000000000" pitchFamily="2" charset="2"/>
              <a:buChar char="q"/>
            </a:pPr>
            <a:endParaRPr lang="da-DK" sz="1200"/>
          </a:p>
          <a:p>
            <a:pPr fontAlgn="base">
              <a:buFont typeface="Wingdings" panose="05000000000000000000" pitchFamily="2" charset="2"/>
              <a:buChar char="q"/>
            </a:pPr>
            <a:endParaRPr lang="da-DK" sz="1200"/>
          </a:p>
          <a:p>
            <a:pPr fontAlgn="base">
              <a:buFont typeface="Wingdings" panose="05000000000000000000" pitchFamily="2" charset="2"/>
              <a:buChar char="q"/>
            </a:pPr>
            <a:endParaRPr lang="da-DK" sz="1200"/>
          </a:p>
          <a:p>
            <a:pPr fontAlgn="base">
              <a:buFont typeface="Wingdings" panose="05000000000000000000" pitchFamily="2" charset="2"/>
              <a:buChar char="q"/>
            </a:pPr>
            <a:r>
              <a:rPr lang="da-DK" sz="1200"/>
              <a:t>Hvem har rettighed til at oprette grupper på jeres skole?</a:t>
            </a:r>
          </a:p>
          <a:p>
            <a:pPr lvl="1" fontAlgn="base"/>
            <a:r>
              <a:rPr lang="da-DK" sz="1200"/>
              <a:t>Hvem giver det mening også skal kunne oprette grupper (Håndter grupper)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DE9EE-56FE-449C-A62C-C8EA30BA507A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8177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131" t="1" r="1" b="46919"/>
          <a:stretch/>
        </p:blipFill>
        <p:spPr>
          <a:xfrm>
            <a:off x="0" y="1761422"/>
            <a:ext cx="6991579" cy="395357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2500" y="4810526"/>
            <a:ext cx="1578944" cy="6345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3138" y="1382184"/>
            <a:ext cx="6858000" cy="99937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138" y="2510086"/>
            <a:ext cx="6858000" cy="137980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Klik for at redigere undertiteltypografien i master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896727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6771B9-0C4B-4007-9B83-3E93067647D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22078" y="4732750"/>
            <a:ext cx="1428919" cy="753573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8D58DCA8-DEB7-4EB1-9C1D-5A00B6604B8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39982" y="50066"/>
            <a:ext cx="2240833" cy="112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10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61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8645016-76ED-4EE3-8FFC-B30B39DED5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12773" y="0"/>
            <a:ext cx="3810000" cy="571500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2929B431-9BD3-4E8A-82C6-0CDCF3DA1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9252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E84D96DD-CD55-470E-99C7-FCDCADA64D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99208" y="0"/>
            <a:ext cx="8572500" cy="5715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CEACBA7-A9C8-4585-AA0D-1E4A59D9E9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5" name="Titel 15">
            <a:extLst>
              <a:ext uri="{FF2B5EF4-FFF2-40B4-BE49-F238E27FC236}">
                <a16:creationId xmlns:a16="http://schemas.microsoft.com/office/drawing/2014/main" id="{700EA361-643F-4CAB-9597-F8FDCBCECD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6" name="Pladsholder til tekst 22">
            <a:extLst>
              <a:ext uri="{FF2B5EF4-FFF2-40B4-BE49-F238E27FC236}">
                <a16:creationId xmlns:a16="http://schemas.microsoft.com/office/drawing/2014/main" id="{B7B48C13-BD93-4E1B-9456-285902489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7" name="Pladsholder til tekst 24">
            <a:extLst>
              <a:ext uri="{FF2B5EF4-FFF2-40B4-BE49-F238E27FC236}">
                <a16:creationId xmlns:a16="http://schemas.microsoft.com/office/drawing/2014/main" id="{2A941B51-9823-452D-AD17-66EAA5722C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8939471-0D22-4DD2-BBF2-1C71599CD9D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183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164" t="-16854" r="4256" b="77660"/>
          <a:stretch/>
        </p:blipFill>
        <p:spPr>
          <a:xfrm>
            <a:off x="3035300" y="3004458"/>
            <a:ext cx="6108700" cy="2710542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62113"/>
            <a:ext cx="6738439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1288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027F4CB8-748C-E04E-84E9-6C7174910F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82" b="6657"/>
          <a:stretch/>
        </p:blipFill>
        <p:spPr>
          <a:xfrm>
            <a:off x="0" y="0"/>
            <a:ext cx="9143999" cy="5715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6173725E-F125-1A49-AB08-CF6196400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70000"/>
          </a:blip>
          <a:srcRect l="-1" r="26539" b="60967"/>
          <a:stretch/>
        </p:blipFill>
        <p:spPr>
          <a:xfrm>
            <a:off x="4377600" y="3182401"/>
            <a:ext cx="4766400" cy="253260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62113"/>
            <a:ext cx="6738439" cy="2900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93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088" b="61228"/>
          <a:stretch/>
        </p:blipFill>
        <p:spPr>
          <a:xfrm>
            <a:off x="4379278" y="3181282"/>
            <a:ext cx="4764722" cy="2533718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78203"/>
            <a:ext cx="6738439" cy="2900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2560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og indhold">
    <p:bg>
      <p:bgPr>
        <a:solidFill>
          <a:srgbClr val="45B7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4D3D39DC-B166-7A45-AE68-9A7F13061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242" b="61310"/>
          <a:stretch/>
        </p:blipFill>
        <p:spPr>
          <a:xfrm>
            <a:off x="4379278" y="3181282"/>
            <a:ext cx="4764722" cy="2533718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78203"/>
            <a:ext cx="6738439" cy="2900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3331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og indhold">
    <p:bg>
      <p:bgPr>
        <a:solidFill>
          <a:srgbClr val="2091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2786D59D-BD04-8F44-9FD3-56EBF47B23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539" b="60967"/>
          <a:stretch/>
        </p:blipFill>
        <p:spPr>
          <a:xfrm>
            <a:off x="4377601" y="3182401"/>
            <a:ext cx="4766400" cy="253260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78203"/>
            <a:ext cx="6738439" cy="2900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7532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og indhold">
    <p:bg>
      <p:bgPr>
        <a:solidFill>
          <a:srgbClr val="007A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E95201FA-75DE-2C4A-A557-5E1EDD1DE0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539" b="60967"/>
          <a:stretch/>
        </p:blipFill>
        <p:spPr>
          <a:xfrm>
            <a:off x="4377601" y="3182401"/>
            <a:ext cx="4766400" cy="253260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6738651" cy="6041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78203"/>
            <a:ext cx="6738439" cy="2900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246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og indhold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5B697E9-8A92-D243-8D84-6A38C8D1D5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50168" y="1662113"/>
            <a:ext cx="6443663" cy="1404937"/>
          </a:xfrm>
        </p:spPr>
        <p:txBody>
          <a:bodyPr>
            <a:normAutofit/>
          </a:bodyPr>
          <a:lstStyle>
            <a:lvl1pPr algn="ctr">
              <a:defRPr sz="420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 dirty="0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36487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088" b="61228"/>
          <a:stretch/>
        </p:blipFill>
        <p:spPr>
          <a:xfrm>
            <a:off x="4379278" y="3181282"/>
            <a:ext cx="4764722" cy="2533718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6009874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-508998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A362614-BAA2-0443-82DE-CE0117E3FF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4556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slide">
    <p:bg>
      <p:bgPr>
        <a:solidFill>
          <a:srgbClr val="34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308482AD-0383-754A-ABAE-5382F1666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131" t="1" r="1" b="46919"/>
          <a:stretch/>
        </p:blipFill>
        <p:spPr>
          <a:xfrm>
            <a:off x="0" y="1761422"/>
            <a:ext cx="6991579" cy="395357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9EFAE13-1D60-0A4F-ADDA-84E37D9995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2500" y="4810526"/>
            <a:ext cx="1578944" cy="63459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896727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3138" y="1382184"/>
            <a:ext cx="5584416" cy="99937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3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138" y="2510086"/>
            <a:ext cx="6858000" cy="137980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Klik for at redigere under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176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2880">
          <p15:clr>
            <a:srgbClr val="FBAE40"/>
          </p15:clr>
        </p15:guide>
        <p15:guide id="3" pos="6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6009874"/>
            <a:ext cx="2922814" cy="3042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088" b="61228"/>
          <a:stretch/>
        </p:blipFill>
        <p:spPr>
          <a:xfrm>
            <a:off x="4379278" y="3181282"/>
            <a:ext cx="4764722" cy="2533718"/>
          </a:xfrm>
          <a:prstGeom prst="rect">
            <a:avLst/>
          </a:prstGeom>
        </p:spPr>
      </p:pic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-508998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7A7741-8029-B34C-BB59-C4D5D4B296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33869" y="2108245"/>
            <a:ext cx="2669816" cy="107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456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bg>
      <p:bgPr>
        <a:solidFill>
          <a:srgbClr val="1345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2206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5756" userDrawn="1">
          <p15:clr>
            <a:srgbClr val="FBAE40"/>
          </p15:clr>
        </p15:guide>
        <p15:guide id="4" orient="horz" pos="343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495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7886700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49" y="1662113"/>
            <a:ext cx="7886487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59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306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66F9560D-F720-0B45-8059-8893C9EB3E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t="3388" r="-4514"/>
          <a:stretch/>
        </p:blipFill>
        <p:spPr>
          <a:xfrm>
            <a:off x="5371319" y="0"/>
            <a:ext cx="4114707" cy="571499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261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B025B07-46B0-4D1D-B6E2-2CA9A8EA6A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7966" y="0"/>
            <a:ext cx="3815334" cy="5715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100CF3A-B05F-4011-8BCF-8BB74C9BCA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14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24C085C-62C8-41F2-ADBB-7D30B7ADF2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36257" y="1"/>
            <a:ext cx="7620717" cy="5715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CE7B058-4BCB-49A0-A4E1-C11302046C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1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51AD65F9-14F5-432D-98A3-0D28E1FC9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2658" y="1"/>
            <a:ext cx="8570783" cy="5714998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972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E9F93209-7709-4C8F-B5B0-974D058739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7810" y="0"/>
            <a:ext cx="8574229" cy="5715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62ECFB-77F1-41D3-95BB-B1C25E3B39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3293566" y="1"/>
            <a:ext cx="6108700" cy="5714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737" y="1020763"/>
            <a:ext cx="4988229" cy="604190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950" y="327025"/>
            <a:ext cx="5353050" cy="260804"/>
          </a:xfrm>
        </p:spPr>
        <p:txBody>
          <a:bodyPr>
            <a:normAutofit/>
          </a:bodyPr>
          <a:lstStyle>
            <a:lvl1pPr>
              <a:defRPr sz="1200" b="1" spc="30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950" y="1662113"/>
            <a:ext cx="4988016" cy="2900363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5737" y="5198095"/>
            <a:ext cx="624509" cy="25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145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5737" y="1020763"/>
            <a:ext cx="7886700" cy="6041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37" y="1666516"/>
            <a:ext cx="7886700" cy="31753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5" y="5356731"/>
            <a:ext cx="2922814" cy="3042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80561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92" r:id="rId4"/>
    <p:sldLayoutId id="2147483686" r:id="rId5"/>
    <p:sldLayoutId id="2147483738" r:id="rId6"/>
    <p:sldLayoutId id="2147483739" r:id="rId7"/>
    <p:sldLayoutId id="2147483740" r:id="rId8"/>
    <p:sldLayoutId id="2147483741" r:id="rId9"/>
    <p:sldLayoutId id="2147483737" r:id="rId10"/>
    <p:sldLayoutId id="2147483736" r:id="rId11"/>
    <p:sldLayoutId id="2147483687" r:id="rId12"/>
    <p:sldLayoutId id="2147483698" r:id="rId13"/>
    <p:sldLayoutId id="2147483688" r:id="rId14"/>
    <p:sldLayoutId id="2147483694" r:id="rId15"/>
    <p:sldLayoutId id="2147483695" r:id="rId16"/>
    <p:sldLayoutId id="2147483696" r:id="rId17"/>
    <p:sldLayoutId id="2147483691" r:id="rId18"/>
    <p:sldLayoutId id="2147483689" r:id="rId19"/>
    <p:sldLayoutId id="2147483690" r:id="rId20"/>
    <p:sldLayoutId id="2147483664" r:id="rId21"/>
    <p:sldLayoutId id="2147483665" r:id="rId2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25425" indent="-22066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03225" indent="-1778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25425" indent="-22066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5425" indent="-22066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85" userDrawn="1">
          <p15:clr>
            <a:srgbClr val="F26B43"/>
          </p15:clr>
        </p15:guide>
        <p15:guide id="4" orient="horz" pos="3430" userDrawn="1">
          <p15:clr>
            <a:srgbClr val="F26B43"/>
          </p15:clr>
        </p15:guide>
        <p15:guide id="5" orient="horz" pos="643" userDrawn="1">
          <p15:clr>
            <a:srgbClr val="F26B43"/>
          </p15:clr>
        </p15:guide>
        <p15:guide id="6" pos="5359" userDrawn="1">
          <p15:clr>
            <a:srgbClr val="F26B43"/>
          </p15:clr>
        </p15:guide>
        <p15:guide id="7" orient="horz" pos="10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conservationbytes.com/2011/04/" TargetMode="External"/><Relationship Id="rId3" Type="http://schemas.openxmlformats.org/officeDocument/2006/relationships/tags" Target="../tags/tag23.xml"/><Relationship Id="rId7" Type="http://schemas.openxmlformats.org/officeDocument/2006/relationships/image" Target="../media/image2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9.emf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5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2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skolebestyrelsenskolenavn@aula.dk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9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5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9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de/paragraf-paragraph-recht-gericht-370928/" TargetMode="External"/><Relationship Id="rId3" Type="http://schemas.openxmlformats.org/officeDocument/2006/relationships/tags" Target="../tags/tag43.xml"/><Relationship Id="rId7" Type="http://schemas.openxmlformats.org/officeDocument/2006/relationships/image" Target="../media/image2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8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0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830912-3938-4D42-BDD1-27F5B6D92C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51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830912-3938-4D42-BDD1-27F5B6D92C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3D9F1D4-524A-4CC5-8B44-D7EA69C3A9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da-DK" sz="36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0CE6BDE-E138-4AA9-9F67-645072E269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Opsætning af Aula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D9FCB50-5986-4BE7-A1A5-A5CED489E8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b="1" dirty="0"/>
              <a:t>Aula workshop </a:t>
            </a:r>
            <a:br>
              <a:rPr lang="da-DK" b="1" dirty="0"/>
            </a:br>
            <a:r>
              <a:rPr lang="da-DK" b="1" dirty="0"/>
              <a:t>#</a:t>
            </a:r>
            <a:r>
              <a:rPr lang="da-DK" b="1" dirty="0" err="1"/>
              <a:t>detvigør</a:t>
            </a:r>
            <a:r>
              <a:rPr lang="da-DK" b="1" dirty="0"/>
              <a:t> i Aarhus Kommune </a:t>
            </a:r>
          </a:p>
          <a:p>
            <a:r>
              <a:rPr lang="da-DK" sz="1100" dirty="0"/>
              <a:t>Torsdag 21. februar 2019</a:t>
            </a:r>
          </a:p>
        </p:txBody>
      </p:sp>
    </p:spTree>
    <p:extLst>
      <p:ext uri="{BB962C8B-B14F-4D97-AF65-F5344CB8AC3E}">
        <p14:creationId xmlns:p14="http://schemas.microsoft.com/office/powerpoint/2010/main" val="37327229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kt 58" hidden="1">
            <a:extLst>
              <a:ext uri="{FF2B5EF4-FFF2-40B4-BE49-F238E27FC236}">
                <a16:creationId xmlns:a16="http://schemas.microsoft.com/office/drawing/2014/main" id="{9AC3765F-F795-4FC2-9E58-FF629F117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59" name="Objekt 58" hidden="1">
                        <a:extLst>
                          <a:ext uri="{FF2B5EF4-FFF2-40B4-BE49-F238E27FC236}">
                            <a16:creationId xmlns:a16="http://schemas.microsoft.com/office/drawing/2014/main" id="{9AC3765F-F795-4FC2-9E58-FF629F117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D466A09-A01D-471F-B7D4-E4CB366A93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987111B-C125-4533-9550-66B80947D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13C2939-A72D-472D-B624-4632C7F4DC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950" y="703007"/>
            <a:ext cx="7679996" cy="3907093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6D5FF968-BD4A-4F3D-9EA6-7640CDBA7F78}"/>
              </a:ext>
            </a:extLst>
          </p:cNvPr>
          <p:cNvSpPr/>
          <p:nvPr/>
        </p:nvSpPr>
        <p:spPr>
          <a:xfrm rot="20311815">
            <a:off x="2073338" y="3295034"/>
            <a:ext cx="598020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600" dirty="0"/>
              <a:t>Under udarbejdelse</a:t>
            </a:r>
          </a:p>
        </p:txBody>
      </p:sp>
    </p:spTree>
    <p:extLst>
      <p:ext uri="{BB962C8B-B14F-4D97-AF65-F5344CB8AC3E}">
        <p14:creationId xmlns:p14="http://schemas.microsoft.com/office/powerpoint/2010/main" val="20840763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EA4744-955D-4EAC-919F-63CC30ED49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479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EA4744-955D-4EAC-919F-63CC30ED49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892F8270-7182-4367-A344-6E8A54A53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2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737493C-BEA2-4192-8867-D0B69B061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Hvis ingen adgang til at skrive til grupper, man ikke er medlem af….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C6383AE-966E-40BB-BCCE-FA62C6B74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C3237E3-5663-4129-B54C-4C2CBCEAD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950" y="1852027"/>
            <a:ext cx="6738439" cy="2900363"/>
          </a:xfrm>
        </p:spPr>
        <p:txBody>
          <a:bodyPr/>
          <a:lstStyle/>
          <a:p>
            <a:r>
              <a:rPr lang="da-DK" dirty="0"/>
              <a:t>Gruppe pr. klasse med forældre og ledelse – så ledelsen kan kommunikere med forældrene</a:t>
            </a:r>
          </a:p>
          <a:p>
            <a:endParaRPr lang="da-DK" dirty="0"/>
          </a:p>
          <a:p>
            <a:r>
              <a:rPr lang="da-DK" dirty="0"/>
              <a:t>Gruppe pr. klasse med forældre og klasseteam – så fx klasselærer kan booke forældremøde.</a:t>
            </a:r>
          </a:p>
          <a:p>
            <a:endParaRPr lang="da-DK" dirty="0"/>
          </a:p>
          <a:p>
            <a:r>
              <a:rPr lang="da-DK" dirty="0"/>
              <a:t>Gruppe eller fællespostkasse pr. klasseteam – så fx ledelsen kan kommunikere med klasseteamet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D1A778CC-2D75-4C3C-B34C-207E0D9623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 rot="861564">
            <a:off x="6950172" y="2286220"/>
            <a:ext cx="2038350" cy="294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42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DDF9767-8B84-42FF-9FBD-F5B1DDC5DBF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683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240" imgH="240" progId="TCLayout.ActiveDocument.1">
                  <p:embed/>
                </p:oleObj>
              </mc:Choice>
              <mc:Fallback>
                <p:oleObj name="think-cell Slide" r:id="rId6" imgW="240" imgH="24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DDF9767-8B84-42FF-9FBD-F5B1DDC5D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561C4C2B-B988-4BD6-94B2-E325C314AD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81F188E-AE4D-48F4-8361-4F2759B24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vervejelser ift. grupper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FF03B38-4B0F-4401-8226-DD6C8C3849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AEA0E36-7E4A-4827-AFC1-815CCBC851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1">
            <a:noAutofit/>
          </a:bodyPr>
          <a:lstStyle/>
          <a:p>
            <a:pPr fontAlgn="base"/>
            <a:r>
              <a:rPr lang="da-DK" sz="1230" b="1" dirty="0"/>
              <a:t>Hvilke grupper i Aula? </a:t>
            </a:r>
          </a:p>
          <a:p>
            <a:pPr marL="782955" lvl="1" indent="-257175" fontAlgn="base"/>
            <a:r>
              <a:rPr lang="da-DK" sz="1230" dirty="0"/>
              <a:t>Se oversigt</a:t>
            </a:r>
          </a:p>
          <a:p>
            <a:pPr marL="525780" lvl="1" indent="0" fontAlgn="base">
              <a:buNone/>
            </a:pPr>
            <a:endParaRPr lang="da-DK" sz="1230" dirty="0"/>
          </a:p>
          <a:p>
            <a:pPr fontAlgn="base"/>
            <a:r>
              <a:rPr lang="da-DK" sz="1230" b="1" dirty="0"/>
              <a:t>Hvordan skal jeres Aula gruppetræ se ud?</a:t>
            </a:r>
          </a:p>
          <a:p>
            <a:pPr marL="782955" lvl="1" indent="-257175" fontAlgn="base"/>
            <a:r>
              <a:rPr lang="da-DK" sz="1230" dirty="0"/>
              <a:t>Se oversigt</a:t>
            </a:r>
          </a:p>
          <a:p>
            <a:pPr marL="782955" lvl="1" indent="-257175" fontAlgn="base"/>
            <a:endParaRPr lang="da-DK" sz="1230" dirty="0"/>
          </a:p>
          <a:p>
            <a:pPr fontAlgn="base"/>
            <a:r>
              <a:rPr lang="da-DK" sz="1230" b="1" dirty="0"/>
              <a:t>Hvornår oprettes grupper med egen side som samarbejdsrum? </a:t>
            </a:r>
          </a:p>
          <a:p>
            <a:pPr marL="620078" lvl="2" indent="-257175" fontAlgn="base"/>
            <a:r>
              <a:rPr lang="da-DK" sz="1230" dirty="0"/>
              <a:t>Overvej om der kun er behov for at sende post og invitere til begivenheder eller behov for flere funktioner og et længerevarende samarbejde?</a:t>
            </a:r>
          </a:p>
          <a:p>
            <a:pPr marL="620078" lvl="2" indent="-257175" fontAlgn="base"/>
            <a:endParaRPr lang="da-DK" sz="1230" dirty="0"/>
          </a:p>
          <a:p>
            <a:pPr fontAlgn="base"/>
            <a:r>
              <a:rPr lang="da-DK" sz="1230" b="1" dirty="0"/>
              <a:t>Hvilke moduler skal slås til i en gruppe med gruppeside?</a:t>
            </a:r>
          </a:p>
          <a:p>
            <a:pPr marL="257175" indent="-257175" fontAlgn="base">
              <a:buFont typeface="Arial" panose="020B0604020202020204" pitchFamily="34" charset="0"/>
              <a:buChar char="•"/>
            </a:pPr>
            <a:r>
              <a:rPr lang="da-DK" sz="1230" dirty="0"/>
              <a:t>	Overvej behovet for hvert enkelt modu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5436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55F70A6-7A08-4AB1-B613-7F5B9975E3F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346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55F70A6-7A08-4AB1-B613-7F5B9975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65760E1C-051E-4483-84EA-4972C3F0A1B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81F188E-AE4D-48F4-8361-4F2759B24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vervejelser ift. grupper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FF03B38-4B0F-4401-8226-DD6C8C3849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AEA0E36-7E4A-4827-AFC1-815CCBC851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2">
            <a:normAutofit fontScale="92500" lnSpcReduction="10000"/>
          </a:bodyPr>
          <a:lstStyle/>
          <a:p>
            <a:pPr fontAlgn="base"/>
            <a:r>
              <a:rPr lang="da-DK" sz="1230" b="1"/>
              <a:t>Hvornår skal grupper være lukkede, åbne eller grupper med ansøgning?</a:t>
            </a:r>
          </a:p>
          <a:p>
            <a:pPr fontAlgn="base"/>
            <a:endParaRPr lang="da-DK" sz="1230" b="1"/>
          </a:p>
          <a:p>
            <a:pPr marL="525780" lvl="1" indent="0" fontAlgn="base">
              <a:buNone/>
            </a:pPr>
            <a:r>
              <a:rPr lang="da-DK" sz="1230" b="1"/>
              <a:t>Åbne</a:t>
            </a:r>
            <a:r>
              <a:rPr lang="da-DK" sz="1230"/>
              <a:t>: </a:t>
            </a:r>
          </a:p>
          <a:p>
            <a:pPr marL="740093" lvl="1" indent="-214313" fontAlgn="base"/>
            <a:r>
              <a:rPr lang="da-DK" sz="1230"/>
              <a:t>Nice to </a:t>
            </a:r>
            <a:r>
              <a:rPr lang="da-DK" sz="1230" err="1"/>
              <a:t>know</a:t>
            </a:r>
            <a:endParaRPr lang="da-DK" sz="1230"/>
          </a:p>
          <a:p>
            <a:pPr marL="740093" lvl="1" indent="-214313" fontAlgn="base"/>
            <a:r>
              <a:rPr lang="da-DK" sz="1230"/>
              <a:t>Kræver stillingtagen til, om man vil melde folk ind og så lade dem selv forlade gruppen eller om man vil reklamere for dem</a:t>
            </a:r>
          </a:p>
          <a:p>
            <a:pPr marL="525780" lvl="1" indent="0" fontAlgn="base">
              <a:buNone/>
            </a:pPr>
            <a:endParaRPr lang="da-DK" sz="1230"/>
          </a:p>
          <a:p>
            <a:pPr marL="525780" lvl="1" indent="0" fontAlgn="base">
              <a:buNone/>
            </a:pPr>
            <a:r>
              <a:rPr lang="da-DK" sz="1230" b="1"/>
              <a:t>Med ansøgning</a:t>
            </a:r>
            <a:r>
              <a:rPr lang="da-DK" sz="1230"/>
              <a:t>:</a:t>
            </a:r>
          </a:p>
          <a:p>
            <a:pPr marL="740093" lvl="1" indent="-214313" fontAlgn="base"/>
            <a:r>
              <a:rPr lang="da-DK" sz="1230"/>
              <a:t>Når der er løbende udskiftning af medlemmer</a:t>
            </a:r>
          </a:p>
          <a:p>
            <a:pPr marL="740093" lvl="1" indent="-214313" fontAlgn="base"/>
            <a:r>
              <a:rPr lang="da-DK" sz="1230"/>
              <a:t>Når man gerne vil styre, hvem der må være medlem</a:t>
            </a:r>
          </a:p>
          <a:p>
            <a:pPr marL="740093" lvl="1" indent="-214313" fontAlgn="base"/>
            <a:endParaRPr lang="da-DK" sz="1230" b="1"/>
          </a:p>
          <a:p>
            <a:pPr marL="740093" lvl="1" indent="-214313" fontAlgn="base"/>
            <a:endParaRPr lang="da-DK" sz="1230" b="1"/>
          </a:p>
          <a:p>
            <a:pPr marL="525780" lvl="1" indent="0" fontAlgn="base">
              <a:buNone/>
            </a:pPr>
            <a:endParaRPr lang="da-DK" sz="1230" b="1"/>
          </a:p>
          <a:p>
            <a:pPr marL="740093" lvl="1" indent="-214313" fontAlgn="base"/>
            <a:endParaRPr lang="da-DK" sz="1230" b="1"/>
          </a:p>
          <a:p>
            <a:pPr marL="525780" lvl="1" indent="0" fontAlgn="base">
              <a:buNone/>
            </a:pPr>
            <a:r>
              <a:rPr lang="da-DK" sz="1230" b="1"/>
              <a:t>Lukkede</a:t>
            </a:r>
            <a:r>
              <a:rPr lang="da-DK" sz="1230"/>
              <a:t>: </a:t>
            </a:r>
          </a:p>
          <a:p>
            <a:pPr marL="740093" lvl="1" indent="-214313" fontAlgn="base"/>
            <a:r>
              <a:rPr lang="da-DK" sz="1230"/>
              <a:t>Når det skal sikres, at der ikke kommer ”uvedkommende ind” eller at medlemmer forlader gruppen – da det kræver administratorrolle for at ændre gruppens medlemmer</a:t>
            </a:r>
          </a:p>
          <a:p>
            <a:pPr marL="740093" lvl="1" indent="-214313" fontAlgn="base"/>
            <a:endParaRPr lang="da-DK" sz="1230"/>
          </a:p>
          <a:p>
            <a:pPr marL="740093" lvl="1" indent="-214313" fontAlgn="base"/>
            <a:r>
              <a:rPr lang="da-DK" sz="1230"/>
              <a:t>Når der kan trækkes udelukkende fra UNI - grupper og ikke er behov for at lukke brugere fra andre end disse ind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30125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B09A673-776F-44AD-BEC1-43EE26EB07B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48306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B09A673-776F-44AD-BEC1-43EE26EB0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AA23FC39-1396-420A-87B6-1B05B42B10E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81F188E-AE4D-48F4-8361-4F2759B24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vervejelser ift. grupper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FF03B38-4B0F-4401-8226-DD6C8C3849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AEA0E36-7E4A-4827-AFC1-815CCBC851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950" y="1662114"/>
            <a:ext cx="5353050" cy="2427934"/>
          </a:xfrm>
        </p:spPr>
        <p:txBody>
          <a:bodyPr numCol="2">
            <a:normAutofit/>
          </a:bodyPr>
          <a:lstStyle/>
          <a:p>
            <a:pPr fontAlgn="base"/>
            <a:r>
              <a:rPr lang="da-DK" sz="1200" b="1" dirty="0"/>
              <a:t>Hvordan sikrer I en god gruppestruktur? </a:t>
            </a:r>
          </a:p>
          <a:p>
            <a:pPr marL="580073" indent="-257175" fontAlgn="base">
              <a:buFont typeface="Arial" panose="020B0604020202020204" pitchFamily="34" charset="0"/>
              <a:buChar char="•"/>
            </a:pPr>
            <a:r>
              <a:rPr lang="da-DK" sz="1200" dirty="0"/>
              <a:t>Sørg for at udnytte UNI-lister, og basere på andre Aula-grupper (man selv har oprettet) for at sikre så lidt vedligehold som muligt,</a:t>
            </a:r>
          </a:p>
          <a:p>
            <a:pPr marL="580073" indent="-257175" fontAlgn="base">
              <a:buFont typeface="Arial" panose="020B0604020202020204" pitchFamily="34" charset="0"/>
              <a:buChar char="•"/>
            </a:pPr>
            <a:r>
              <a:rPr lang="da-DK" sz="1200" dirty="0"/>
              <a:t>Grupperinger kan danne udgangspunkt for styring af rettigheder og dashboard-visninger, så det ikke skal tildeles på enkeltpersons-niveau</a:t>
            </a:r>
          </a:p>
          <a:p>
            <a:pPr fontAlgn="base"/>
            <a:endParaRPr lang="da-DK" sz="1200" b="1" dirty="0"/>
          </a:p>
          <a:p>
            <a:pPr fontAlgn="base"/>
            <a:r>
              <a:rPr lang="da-DK" sz="1200" b="1" dirty="0"/>
              <a:t>Hvilke tværgående grupper</a:t>
            </a:r>
          </a:p>
          <a:p>
            <a:pPr marL="214313" indent="-214313" fontAlgn="base">
              <a:buFont typeface="Arial" panose="020B0604020202020204" pitchFamily="34" charset="0"/>
              <a:buChar char="•"/>
            </a:pPr>
            <a:r>
              <a:rPr lang="da-DK" sz="1200" dirty="0"/>
              <a:t>Ved længerevarende samarbejde med andre Aula-brugere uden for egen institution. </a:t>
            </a:r>
          </a:p>
          <a:p>
            <a:pPr marL="214313" indent="-214313" fontAlgn="base">
              <a:buFont typeface="Arial" panose="020B0604020202020204" pitchFamily="34" charset="0"/>
              <a:buChar char="•"/>
            </a:pPr>
            <a:r>
              <a:rPr lang="da-DK" sz="1200" dirty="0"/>
              <a:t>Der oprettes 2 styks med kommunal information (Kommunale tilbud - forældrerettet og kommunale tilbud - medarbejderrettet)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2029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70374FF-0B33-44E4-8FA9-E5E270832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vad skal der oprettes fællespostkasse til?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AB71436-0F8E-4778-9EE0-EFE989E255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9E6889B-94B0-4FF4-9514-5B16EBCF5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a-DK" b="1" dirty="0"/>
              <a:t>Retningslinje: </a:t>
            </a:r>
          </a:p>
          <a:p>
            <a:r>
              <a:rPr lang="da-DK" dirty="0"/>
              <a:t>Skolebestyrelsen skal have en fællespostkasse inkl. mailadresse</a:t>
            </a:r>
          </a:p>
          <a:p>
            <a:r>
              <a:rPr lang="da-DK" dirty="0"/>
              <a:t>Syntaks for mailadressen er </a:t>
            </a:r>
            <a:r>
              <a:rPr lang="da-DK" dirty="0">
                <a:hlinkClick r:id="rId3"/>
              </a:rPr>
              <a:t>skolebestyrelsen</a:t>
            </a:r>
            <a:r>
              <a:rPr lang="da-DK" dirty="0">
                <a:solidFill>
                  <a:schemeClr val="accent2"/>
                </a:solidFill>
                <a:hlinkClick r:id="rId3"/>
              </a:rPr>
              <a:t>skolenavn</a:t>
            </a:r>
            <a:r>
              <a:rPr lang="da-DK" dirty="0">
                <a:hlinkClick r:id="rId3"/>
              </a:rPr>
              <a:t>@aula.dk</a:t>
            </a:r>
            <a:endParaRPr lang="da-DK" dirty="0"/>
          </a:p>
          <a:p>
            <a:r>
              <a:rPr lang="da-DK" dirty="0"/>
              <a:t>Syntaks for fællespostkassens navn er Skolebestyrelsen </a:t>
            </a:r>
            <a:r>
              <a:rPr lang="da-DK" dirty="0" err="1">
                <a:solidFill>
                  <a:srgbClr val="17638E"/>
                </a:solidFill>
              </a:rPr>
              <a:t>skolenavn</a:t>
            </a:r>
            <a:endParaRPr lang="da-DK" dirty="0">
              <a:solidFill>
                <a:srgbClr val="17638E"/>
              </a:solidFill>
            </a:endParaRPr>
          </a:p>
          <a:p>
            <a:endParaRPr lang="da-DK" dirty="0"/>
          </a:p>
          <a:p>
            <a:r>
              <a:rPr lang="da-DK" b="1" dirty="0"/>
              <a:t>Lokal drøftelse:</a:t>
            </a:r>
          </a:p>
          <a:p>
            <a:r>
              <a:rPr lang="da-DK" dirty="0"/>
              <a:t>Er der behov for andre fællespostkasser i fx:</a:t>
            </a:r>
          </a:p>
          <a:p>
            <a:pPr lvl="1"/>
            <a:r>
              <a:rPr lang="da-DK" dirty="0"/>
              <a:t>Klasseteam?</a:t>
            </a:r>
          </a:p>
          <a:p>
            <a:pPr lvl="1"/>
            <a:r>
              <a:rPr lang="da-DK" dirty="0"/>
              <a:t>Elevråd?</a:t>
            </a:r>
          </a:p>
          <a:p>
            <a:pPr lvl="1"/>
            <a:r>
              <a:rPr lang="da-DK" dirty="0"/>
              <a:t>Kontoret?</a:t>
            </a:r>
          </a:p>
          <a:p>
            <a:pPr lvl="1"/>
            <a:r>
              <a:rPr lang="da-DK" dirty="0"/>
              <a:t>Ledelsen?</a:t>
            </a:r>
          </a:p>
        </p:txBody>
      </p:sp>
      <p:sp>
        <p:nvSpPr>
          <p:cNvPr id="2" name="Taleboble: oval 1">
            <a:extLst>
              <a:ext uri="{FF2B5EF4-FFF2-40B4-BE49-F238E27FC236}">
                <a16:creationId xmlns:a16="http://schemas.microsoft.com/office/drawing/2014/main" id="{4E99FCD2-C4C0-43EB-A607-182E5BE1D8A5}"/>
              </a:ext>
            </a:extLst>
          </p:cNvPr>
          <p:cNvSpPr/>
          <p:nvPr/>
        </p:nvSpPr>
        <p:spPr>
          <a:xfrm>
            <a:off x="7010400" y="895350"/>
            <a:ext cx="1838325" cy="1190625"/>
          </a:xfrm>
          <a:prstGeom prst="wedgeEllipseCallout">
            <a:avLst>
              <a:gd name="adj1" fmla="val -84856"/>
              <a:gd name="adj2" fmla="val 449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Fælles syntaks, så de er nemme at fremsø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36494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6D5566-3FA2-41E5-B43A-1B005D18B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/>
              <a:t>Afklaring: Styring af roller og rettigheder via grupp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9F0713-781A-4FA3-AD3C-AF3ED83C67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0CF2292-E03B-4F52-A13E-9F6557FA9F13}"/>
              </a:ext>
            </a:extLst>
          </p:cNvPr>
          <p:cNvSpPr/>
          <p:nvPr/>
        </p:nvSpPr>
        <p:spPr>
          <a:xfrm>
            <a:off x="520700" y="1866902"/>
            <a:ext cx="1847850" cy="29908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a-DK" sz="1050" b="1"/>
              <a:t>RETTIGHEDER</a:t>
            </a:r>
          </a:p>
          <a:p>
            <a:pPr algn="ctr"/>
            <a:endParaRPr lang="da-DK" sz="788" b="1"/>
          </a:p>
          <a:p>
            <a:r>
              <a:rPr lang="da-DK" sz="825" b="1"/>
              <a:t>Institutionel administrato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grupp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tværgående gruppe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brugerrolle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anmeldelser og slet indhol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 err="1"/>
              <a:t>Håbdter</a:t>
            </a:r>
            <a:r>
              <a:rPr lang="da-DK" sz="825"/>
              <a:t> ressourcer på institu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supplerende stamdata/tilladelse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fysisk placering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Fælles file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Håndter fællespostkass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Til gå Google Driv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a-DK" sz="825"/>
              <a:t>Tilgå OneDrive</a:t>
            </a:r>
          </a:p>
          <a:p>
            <a:endParaRPr lang="da-DK" sz="825"/>
          </a:p>
          <a:p>
            <a:r>
              <a:rPr lang="da-DK" sz="825"/>
              <a:t>Bestyrelsesmedlem</a:t>
            </a:r>
          </a:p>
          <a:p>
            <a:r>
              <a:rPr lang="da-DK" sz="825"/>
              <a:t>Kontaktforælder</a:t>
            </a:r>
          </a:p>
          <a:p>
            <a:r>
              <a:rPr lang="da-DK" sz="825"/>
              <a:t>Opret kalendersamtaler</a:t>
            </a:r>
          </a:p>
          <a:p>
            <a:r>
              <a:rPr lang="da-DK" sz="825"/>
              <a:t>Send SM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a-DK" sz="788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da-DK" sz="788" b="1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A6B1966-12E9-43D4-877B-2DFF5BB00F4B}"/>
              </a:ext>
            </a:extLst>
          </p:cNvPr>
          <p:cNvSpPr/>
          <p:nvPr/>
        </p:nvSpPr>
        <p:spPr>
          <a:xfrm>
            <a:off x="6476999" y="1866902"/>
            <a:ext cx="1847850" cy="29908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a-DK" sz="1053" b="1"/>
              <a:t>BRUGERE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Leder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Ledelse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Lærere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Pædagoger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Vikarer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TAP</a:t>
            </a:r>
          </a:p>
          <a:p>
            <a:pPr algn="ctr"/>
            <a:endParaRPr lang="da-DK" sz="1053" b="1"/>
          </a:p>
          <a:p>
            <a:pPr algn="ctr"/>
            <a:r>
              <a:rPr lang="da-DK" sz="1053" b="1"/>
              <a:t>Konsulent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0485879-3FD6-4EFC-8643-1B997158C3E6}"/>
              </a:ext>
            </a:extLst>
          </p:cNvPr>
          <p:cNvSpPr/>
          <p:nvPr/>
        </p:nvSpPr>
        <p:spPr>
          <a:xfrm>
            <a:off x="3213100" y="1866902"/>
            <a:ext cx="2419350" cy="901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53">
                <a:solidFill>
                  <a:srgbClr val="337DA6"/>
                </a:solidFill>
              </a:rPr>
              <a:t>Aula-administrator</a:t>
            </a:r>
          </a:p>
          <a:p>
            <a:pPr algn="ctr"/>
            <a:r>
              <a:rPr lang="da-DK" sz="1053">
                <a:solidFill>
                  <a:srgbClr val="337DA6"/>
                </a:solidFill>
              </a:rPr>
              <a:t> Alle rettigheder</a:t>
            </a:r>
          </a:p>
          <a:p>
            <a:pPr algn="ctr"/>
            <a:r>
              <a:rPr lang="da-DK" sz="1053">
                <a:solidFill>
                  <a:srgbClr val="337DA6"/>
                </a:solidFill>
              </a:rPr>
              <a:t>Skal flere have rollen på skolen?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1C8C12A-3E6D-4258-9AD6-F408876DAC92}"/>
              </a:ext>
            </a:extLst>
          </p:cNvPr>
          <p:cNvSpPr/>
          <p:nvPr/>
        </p:nvSpPr>
        <p:spPr>
          <a:xfrm>
            <a:off x="3213100" y="2911477"/>
            <a:ext cx="2419350" cy="901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53">
                <a:solidFill>
                  <a:srgbClr val="337DA6"/>
                </a:solidFill>
              </a:rPr>
              <a:t>Superbrugere</a:t>
            </a:r>
          </a:p>
          <a:p>
            <a:pPr algn="ctr"/>
            <a:r>
              <a:rPr lang="da-DK" sz="1053">
                <a:solidFill>
                  <a:srgbClr val="337DA6"/>
                </a:solidFill>
              </a:rPr>
              <a:t>Hvilke rettigheder?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9395324-9236-497A-844A-921B69F2CEB4}"/>
              </a:ext>
            </a:extLst>
          </p:cNvPr>
          <p:cNvSpPr/>
          <p:nvPr/>
        </p:nvSpPr>
        <p:spPr>
          <a:xfrm>
            <a:off x="3213100" y="3956052"/>
            <a:ext cx="2419350" cy="901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53">
                <a:solidFill>
                  <a:srgbClr val="337DA6"/>
                </a:solidFill>
              </a:rPr>
              <a:t>Pædagogisk personale</a:t>
            </a:r>
          </a:p>
          <a:p>
            <a:pPr algn="ctr"/>
            <a:r>
              <a:rPr lang="da-DK" sz="1053">
                <a:solidFill>
                  <a:srgbClr val="337DA6"/>
                </a:solidFill>
              </a:rPr>
              <a:t>Hvilke rettigheder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5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A8C94AA-42C2-446A-8926-7CB7F784157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366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240" imgH="240" progId="TCLayout.ActiveDocument.1">
                  <p:embed/>
                </p:oleObj>
              </mc:Choice>
              <mc:Fallback>
                <p:oleObj name="think-cell Slide" r:id="rId6" imgW="240" imgH="24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A8C94AA-42C2-446A-8926-7CB7F7841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DF3F0429-9F2E-4E7F-BA99-869A10F99DD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89388E0-4CA9-4305-82BF-DB6DC5B18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962" y="2300611"/>
            <a:ext cx="6738651" cy="604190"/>
          </a:xfrm>
        </p:spPr>
        <p:txBody>
          <a:bodyPr>
            <a:normAutofit/>
          </a:bodyPr>
          <a:lstStyle/>
          <a:p>
            <a:r>
              <a:rPr lang="da-DK" dirty="0"/>
              <a:t>Oprettelse af andre ressourcer: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0E697FC7-7023-468D-902C-CACD262D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50A14F65-C5E4-4107-A1DF-A7DB99D941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74" y="3112294"/>
            <a:ext cx="6738439" cy="2900363"/>
          </a:xfrm>
        </p:spPr>
        <p:txBody>
          <a:bodyPr/>
          <a:lstStyle/>
          <a:p>
            <a:r>
              <a:rPr lang="da-DK" dirty="0"/>
              <a:t>Overvej hvilke kategorier: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da-DK" dirty="0"/>
              <a:t>It-udstyr?</a:t>
            </a:r>
          </a:p>
          <a:p>
            <a:pPr marL="460058" lvl="1" indent="-257175"/>
            <a:r>
              <a:rPr lang="da-DK" dirty="0"/>
              <a:t>Deles op i underkategorier? Hvad giver mest mening?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da-DK" dirty="0"/>
              <a:t>Transportmidler?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da-DK" dirty="0"/>
              <a:t>Udendørsgrej?</a:t>
            </a:r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A7016256-6FBF-4FE9-ABAA-F082E7594538}"/>
              </a:ext>
            </a:extLst>
          </p:cNvPr>
          <p:cNvSpPr txBox="1">
            <a:spLocks/>
          </p:cNvSpPr>
          <p:nvPr/>
        </p:nvSpPr>
        <p:spPr>
          <a:xfrm>
            <a:off x="511174" y="919486"/>
            <a:ext cx="6738651" cy="6041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a-DK" dirty="0"/>
              <a:t>Oprettelse af mødelokaler: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E83E134-0ECA-4D38-A5E8-5ABC14F7F4E8}"/>
              </a:ext>
            </a:extLst>
          </p:cNvPr>
          <p:cNvSpPr txBox="1"/>
          <p:nvPr/>
        </p:nvSpPr>
        <p:spPr>
          <a:xfrm>
            <a:off x="491912" y="1542811"/>
            <a:ext cx="5839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800" dirty="0"/>
              <a:t>Præcis samme syntaks som i skema – endnu ikke set fung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00275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28B325-27B4-4FB1-9280-74AB190D75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18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F28B325-27B4-4FB1-9280-74AB190D7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78813885-3719-46E4-BACC-769B72A146D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6AC777-1DDF-43D4-8D6B-E5BC0EF65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shboards – standardopsæt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5910AE0-2591-49D0-AA9E-68386ACD89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9CF6299-A420-4F8F-9231-E820E47C5B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a-DK" dirty="0"/>
              <a:t>Skolerne skal ikke selv opsætte dem, de er opsat af kommunal administrator</a:t>
            </a:r>
          </a:p>
          <a:p>
            <a:endParaRPr lang="da-DK" dirty="0"/>
          </a:p>
          <a:p>
            <a:r>
              <a:rPr lang="da-DK" dirty="0"/>
              <a:t>Ved behov for ændring af </a:t>
            </a:r>
            <a:r>
              <a:rPr lang="da-DK" dirty="0" err="1"/>
              <a:t>dashboards</a:t>
            </a:r>
            <a:r>
              <a:rPr lang="da-DK" dirty="0"/>
              <a:t> – kontakt kommunal administrator.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118127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6AC777-1DDF-43D4-8D6B-E5BC0EF65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odkendte modtager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5910AE0-2591-49D0-AA9E-68386ACD89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9CF6299-A420-4F8F-9231-E820E47C5B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Der er på nuværende tidspunkt ikke godkendt nogle eksterne modtagere – dvs. der kan ikke sendes ud af Aula. </a:t>
            </a:r>
          </a:p>
          <a:p>
            <a:endParaRPr lang="da-DK" dirty="0"/>
          </a:p>
          <a:p>
            <a:r>
              <a:rPr lang="da-DK" dirty="0"/>
              <a:t>Vi er i gang med at vurdere, om der er behov for, at der lukkes op for fx at sende til en @aarhus.dk-mail. </a:t>
            </a:r>
          </a:p>
          <a:p>
            <a:r>
              <a:rPr lang="da-DK" dirty="0"/>
              <a:t>Umiddelbart forventer vi, at denne kommunikation foregår i Outlook. </a:t>
            </a:r>
          </a:p>
          <a:p>
            <a:pPr marL="342900" indent="-342900">
              <a:buFont typeface="+mj-lt"/>
              <a:buAutoNum type="alphaLcParenR"/>
            </a:pPr>
            <a:endParaRPr lang="da-DK" dirty="0"/>
          </a:p>
          <a:p>
            <a:endParaRPr lang="da-DK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75D343-E503-43CE-8EA4-69192EE72C12}"/>
              </a:ext>
            </a:extLst>
          </p:cNvPr>
          <p:cNvSpPr txBox="1">
            <a:spLocks/>
          </p:cNvSpPr>
          <p:nvPr/>
        </p:nvSpPr>
        <p:spPr>
          <a:xfrm>
            <a:off x="615737" y="3649663"/>
            <a:ext cx="6738651" cy="6041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a-DK"/>
              <a:t>Fælles filer</a:t>
            </a:r>
            <a:endParaRPr lang="da-DK" dirty="0"/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35C761D7-8712-437C-A823-BC1233EC6EC8}"/>
              </a:ext>
            </a:extLst>
          </p:cNvPr>
          <p:cNvSpPr txBox="1">
            <a:spLocks/>
          </p:cNvSpPr>
          <p:nvPr/>
        </p:nvSpPr>
        <p:spPr>
          <a:xfrm>
            <a:off x="615949" y="4291013"/>
            <a:ext cx="6738439" cy="490537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2500" lnSpcReduction="2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403225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Anvendes ikke før, det er afklaret, hvad der med fordel</a:t>
            </a:r>
          </a:p>
          <a:p>
            <a:r>
              <a:rPr lang="da-DK"/>
              <a:t>kan lægges der.</a:t>
            </a:r>
          </a:p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7255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F048062-BBF3-4E86-AB3A-48B2EA13A7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468171"/>
              </p:ext>
            </p:extLst>
          </p:nvPr>
        </p:nvGraphicFramePr>
        <p:xfrm>
          <a:off x="1191" y="2869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F048062-BBF3-4E86-AB3A-48B2EA13A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2869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A98145C2-E655-4497-BBCA-73ABF1E1AF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857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06BDDD-FDA7-4040-8045-C17FFA7BA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dan har vi grebet opgaven an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5C14F24-D8F0-434E-9F3A-DB3DC307A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36EAA64-9220-47FA-BB26-9DA727C51F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endParaRPr lang="da-DK" sz="1200" dirty="0"/>
          </a:p>
          <a:p>
            <a:endParaRPr lang="da-DK" sz="1200" dirty="0"/>
          </a:p>
          <a:p>
            <a:pPr marL="257175" indent="-257175">
              <a:buFontTx/>
              <a:buChar char="-"/>
            </a:pPr>
            <a:r>
              <a:rPr lang="da-DK" dirty="0"/>
              <a:t>Opfinde den dybe tallerken inden skolerne skal i gang</a:t>
            </a:r>
          </a:p>
          <a:p>
            <a:pPr marL="257175" indent="-257175">
              <a:buFontTx/>
              <a:buChar char="-"/>
            </a:pPr>
            <a:r>
              <a:rPr lang="da-DK" dirty="0"/>
              <a:t>Sikre at alle kommer i mål til deadline</a:t>
            </a:r>
          </a:p>
          <a:p>
            <a:pPr marL="257175" indent="-257175">
              <a:buFontTx/>
              <a:buChar char="-"/>
            </a:pPr>
            <a:r>
              <a:rPr lang="da-DK" dirty="0"/>
              <a:t>Sikre at Aula er lækkert fra start</a:t>
            </a:r>
          </a:p>
          <a:p>
            <a:pPr marL="257175" indent="-257175">
              <a:buFontTx/>
              <a:buChar char="-"/>
            </a:pPr>
            <a:r>
              <a:rPr lang="da-DK" dirty="0"/>
              <a:t>Sikre at vi i projektet ikke drukner i 1:1 hjælp</a:t>
            </a:r>
          </a:p>
          <a:p>
            <a:pPr marL="257175" indent="-257175">
              <a:buFontTx/>
              <a:buChar char="-"/>
            </a:pPr>
            <a:r>
              <a:rPr lang="da-DK" dirty="0"/>
              <a:t>Teste metoden i piloten</a:t>
            </a:r>
          </a:p>
          <a:p>
            <a:pPr marL="257175" indent="-257175">
              <a:buFontTx/>
              <a:buChar char="-"/>
            </a:pPr>
            <a:endParaRPr lang="da-DK" sz="1200" dirty="0"/>
          </a:p>
          <a:p>
            <a:pPr marL="257175" indent="-257175">
              <a:buFontTx/>
              <a:buChar char="-"/>
            </a:pP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5489947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42A89A7-5B4A-4D8A-BAD4-95E6CB1FBD9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1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42A89A7-5B4A-4D8A-BAD4-95E6CB1FB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5910AE0-2591-49D0-AA9E-68386ACD89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9B1B299-68C2-4306-9600-275626C8EA43}"/>
              </a:ext>
            </a:extLst>
          </p:cNvPr>
          <p:cNvSpPr txBox="1">
            <a:spLocks/>
          </p:cNvSpPr>
          <p:nvPr/>
        </p:nvSpPr>
        <p:spPr>
          <a:xfrm>
            <a:off x="615950" y="1434352"/>
            <a:ext cx="6738651" cy="6041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a-DK" dirty="0"/>
              <a:t>Samtykke, tilladelser og supplerende stamdata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4F0AA8DB-FDDA-4779-9988-202A2B95D92B}"/>
              </a:ext>
            </a:extLst>
          </p:cNvPr>
          <p:cNvSpPr txBox="1"/>
          <p:nvPr/>
        </p:nvSpPr>
        <p:spPr>
          <a:xfrm>
            <a:off x="568325" y="2014083"/>
            <a:ext cx="6406818" cy="862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800" dirty="0"/>
              <a:t>Er under overvejelse – udfordring med max 200 anslag i tilladelse. </a:t>
            </a:r>
          </a:p>
          <a:p>
            <a:r>
              <a:rPr lang="da-DK" sz="1800" dirty="0"/>
              <a:t>Indtil videre fortsætter vi med hidtidig praksis.  </a:t>
            </a:r>
          </a:p>
          <a:p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B58E173-0E9D-46D7-ADE4-F47E5D09A7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5888299" y="1887752"/>
            <a:ext cx="3548868" cy="250638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4856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02D532-BC2E-4C9E-BB40-1B81096DE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dgang til eller medbringes: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AB77044-1FE3-4384-A9CD-D1349136A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F66843C-2801-41BB-A836-94BF3FE85A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2">
            <a:normAutofit fontScale="92500" lnSpcReduction="10000"/>
          </a:bodyPr>
          <a:lstStyle/>
          <a:p>
            <a:r>
              <a:rPr lang="da-DK"/>
              <a:t>Klasseteams</a:t>
            </a:r>
          </a:p>
          <a:p>
            <a:r>
              <a:rPr lang="da-DK"/>
              <a:t>Pædagoger, der ikke er i SFO</a:t>
            </a:r>
          </a:p>
          <a:p>
            <a:r>
              <a:rPr lang="da-DK"/>
              <a:t>Medarbejdere i afdelinger</a:t>
            </a:r>
          </a:p>
          <a:p>
            <a:r>
              <a:rPr lang="da-DK"/>
              <a:t>MED-udvalg</a:t>
            </a:r>
          </a:p>
          <a:p>
            <a:r>
              <a:rPr lang="da-DK"/>
              <a:t>AMR</a:t>
            </a:r>
          </a:p>
          <a:p>
            <a:r>
              <a:rPr lang="da-DK"/>
              <a:t>Skolens fagudvalg og deres medlemmer</a:t>
            </a:r>
          </a:p>
          <a:p>
            <a:r>
              <a:rPr lang="da-DK"/>
              <a:t>PLC-medarbejdere</a:t>
            </a:r>
          </a:p>
          <a:p>
            <a:r>
              <a:rPr lang="da-DK"/>
              <a:t>AKT-medarbejdere</a:t>
            </a:r>
          </a:p>
          <a:p>
            <a:r>
              <a:rPr lang="da-DK"/>
              <a:t>Læsevejledere</a:t>
            </a:r>
          </a:p>
          <a:p>
            <a:r>
              <a:rPr lang="da-DK"/>
              <a:t>Matematikvejledere</a:t>
            </a:r>
          </a:p>
          <a:p>
            <a:r>
              <a:rPr lang="da-DK"/>
              <a:t>IT-vejledere</a:t>
            </a:r>
          </a:p>
          <a:p>
            <a:r>
              <a:rPr lang="da-DK"/>
              <a:t>DSA-vejleder</a:t>
            </a:r>
          </a:p>
          <a:p>
            <a:r>
              <a:rPr lang="da-DK"/>
              <a:t>Medlemmer af skolebestyrelsen</a:t>
            </a:r>
          </a:p>
          <a:p>
            <a:r>
              <a:rPr lang="da-DK"/>
              <a:t>Medlemmer af elevråd (elever og medarbejdere)</a:t>
            </a:r>
          </a:p>
          <a:p>
            <a:r>
              <a:rPr lang="da-DK"/>
              <a:t>Medlemmer af forældreklasseråd</a:t>
            </a:r>
          </a:p>
          <a:p>
            <a:r>
              <a:rPr lang="da-DK"/>
              <a:t>Liste over ressourcer, der skal bookes i Aul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8829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0534B-04FB-48B5-B8E7-970C3F65115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5723052"/>
              </p:ext>
            </p:extLst>
          </p:nvPr>
        </p:nvGraphicFramePr>
        <p:xfrm>
          <a:off x="1191" y="2869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0534B-04FB-48B5-B8E7-970C3F651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2869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4E99D260-40D5-4096-A230-803EB587F9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4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F5DBB077-B989-483A-81E7-A972F33AFD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271" y="937872"/>
            <a:ext cx="7204229" cy="383925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E11985A-F432-4ED4-810F-A668AEC99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737" y="1204437"/>
            <a:ext cx="7886700" cy="543771"/>
          </a:xfrm>
        </p:spPr>
        <p:txBody>
          <a:bodyPr/>
          <a:lstStyle/>
          <a:p>
            <a:r>
              <a:rPr lang="da-DK" dirty="0"/>
              <a:t>Aula ro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1C8245E-2C35-4EA6-934D-8E2C1DE5B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7218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DB3A64-A36F-4525-A8A2-9B9A9363BA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9637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40" imgH="240" progId="TCLayout.ActiveDocument.1">
                  <p:embed/>
                </p:oleObj>
              </mc:Choice>
              <mc:Fallback>
                <p:oleObj name="think-cell Slide" r:id="rId6" imgW="240" imgH="24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DB3A64-A36F-4525-A8A2-9B9A9363B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F704AB9-4E38-4B0B-AC3D-14072D89D0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ROLLEN SOM LOKAL AULA-ADMINISTRATOR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4B204A22-F0E3-47CE-8CBD-A05F7E914B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08" t="61750" r="29989"/>
          <a:stretch/>
        </p:blipFill>
        <p:spPr>
          <a:xfrm>
            <a:off x="1351105" y="503623"/>
            <a:ext cx="4309972" cy="3137291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15FA06F3-BE37-44F2-8270-C5BB9356DF72}"/>
              </a:ext>
            </a:extLst>
          </p:cNvPr>
          <p:cNvSpPr txBox="1"/>
          <p:nvPr/>
        </p:nvSpPr>
        <p:spPr>
          <a:xfrm>
            <a:off x="6206590" y="1618900"/>
            <a:ext cx="2576920" cy="1604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b="1" dirty="0"/>
              <a:t>Workshop 1 (</a:t>
            </a:r>
            <a:r>
              <a:rPr lang="da-DK" b="1" dirty="0" err="1"/>
              <a:t>dec</a:t>
            </a:r>
            <a:r>
              <a:rPr lang="da-DK" b="1" dirty="0"/>
              <a:t>-jan): </a:t>
            </a:r>
            <a:r>
              <a:rPr lang="da-DK" dirty="0"/>
              <a:t>Oprydning i SkoleIntra og i de administrative system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b="1" dirty="0"/>
              <a:t>Workshop 2 (primo april): </a:t>
            </a:r>
            <a:r>
              <a:rPr lang="da-DK" dirty="0"/>
              <a:t>Opsætning af Aula </a:t>
            </a:r>
          </a:p>
          <a:p>
            <a:endParaRPr lang="da-DK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D6B5CC8-6221-4D75-A9FB-82F4E80181BF}"/>
              </a:ext>
            </a:extLst>
          </p:cNvPr>
          <p:cNvSpPr txBox="1">
            <a:spLocks/>
          </p:cNvSpPr>
          <p:nvPr/>
        </p:nvSpPr>
        <p:spPr>
          <a:xfrm>
            <a:off x="1726897" y="4053126"/>
            <a:ext cx="4988229" cy="340437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a-DK" dirty="0"/>
              <a:t>Projektet supporter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11DDC871-E670-426A-9F1F-E411DA87902F}"/>
              </a:ext>
            </a:extLst>
          </p:cNvPr>
          <p:cNvSpPr txBox="1"/>
          <p:nvPr/>
        </p:nvSpPr>
        <p:spPr>
          <a:xfrm>
            <a:off x="1726897" y="4412812"/>
            <a:ext cx="5917967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dirty="0"/>
              <a:t>Ekstra tid afsat til support af skolerne umiddelbart efter workshop 2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dirty="0"/>
              <a:t>Opfølgning på de enkelte skoler op til sommerferien – indsats efter behov  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EE5D4444-C606-43BD-8358-7956370D3F78}"/>
              </a:ext>
            </a:extLst>
          </p:cNvPr>
          <p:cNvSpPr/>
          <p:nvPr/>
        </p:nvSpPr>
        <p:spPr>
          <a:xfrm>
            <a:off x="6116832" y="1296539"/>
            <a:ext cx="2756435" cy="2085975"/>
          </a:xfrm>
          <a:prstGeom prst="roundRect">
            <a:avLst/>
          </a:prstGeom>
          <a:noFill/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90626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FD5B7B9-1A55-49B5-B51E-5E37FFCC9ED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871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240" imgH="240" progId="TCLayout.ActiveDocument.1">
                  <p:embed/>
                </p:oleObj>
              </mc:Choice>
              <mc:Fallback>
                <p:oleObj name="think-cell Slide" r:id="rId7" imgW="240" imgH="24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FD5B7B9-1A55-49B5-B51E-5E37FFCC9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0EBB19A4-23CF-4DDC-BCF6-40F2153A966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2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2A783D-5560-4A02-916D-D7AFFB24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Program for workshop 1 for lokale Aula administrator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73CFDF-9DE5-43EF-A937-507320737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950" y="580073"/>
            <a:ext cx="5875846" cy="234724"/>
          </a:xfrm>
        </p:spPr>
        <p:txBody>
          <a:bodyPr>
            <a:normAutofit/>
          </a:bodyPr>
          <a:lstStyle/>
          <a:p>
            <a:r>
              <a:rPr lang="da-DK" dirty="0"/>
              <a:t>OPSÆTNING AF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C2A66E-83E7-48C4-B148-5DA8A0A18A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da-DK" dirty="0"/>
              <a:t>Rollen som lokal Aula-administrator</a:t>
            </a:r>
          </a:p>
          <a:p>
            <a:pPr marL="342900" indent="-342900">
              <a:buAutoNum type="arabicPeriod"/>
            </a:pPr>
            <a:r>
              <a:rPr lang="da-DK" dirty="0"/>
              <a:t>Vigtige datoer for Aula-administratoren</a:t>
            </a:r>
          </a:p>
          <a:p>
            <a:pPr marL="342900" indent="-342900">
              <a:buAutoNum type="arabicPeriod"/>
            </a:pPr>
            <a:r>
              <a:rPr lang="da-DK" dirty="0"/>
              <a:t>Oprydning – hvor og hvorfor?</a:t>
            </a:r>
          </a:p>
          <a:p>
            <a:pPr marL="342900" indent="-342900">
              <a:buAutoNum type="arabicPeriod"/>
            </a:pPr>
            <a:r>
              <a:rPr lang="da-DK" dirty="0"/>
              <a:t>Oprydningsplan</a:t>
            </a:r>
          </a:p>
          <a:p>
            <a:pPr marL="342900" indent="-342900">
              <a:buAutoNum type="arabicPeriod"/>
            </a:pPr>
            <a:r>
              <a:rPr lang="da-DK" dirty="0"/>
              <a:t>Vejledninger til oprydningsplanens opgaver</a:t>
            </a:r>
          </a:p>
          <a:p>
            <a:pPr marL="342900" indent="-342900">
              <a:buAutoNum type="arabicPeriod"/>
            </a:pPr>
            <a:endParaRPr lang="da-DK" dirty="0"/>
          </a:p>
          <a:p>
            <a:r>
              <a:rPr lang="da-DK" dirty="0"/>
              <a:t>Vedlagt: Vejledninger til fase 1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363444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8032C68-9BD9-444F-81CB-86F2D323AD0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4193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240" imgH="240" progId="TCLayout.ActiveDocument.1">
                  <p:embed/>
                </p:oleObj>
              </mc:Choice>
              <mc:Fallback>
                <p:oleObj name="think-cell Slide" r:id="rId7" imgW="240" imgH="24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8032C68-9BD9-444F-81CB-86F2D3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C7CE4EFD-9D4B-4AC1-B5D4-C25E0DAB4C4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20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E764EFB-2E0E-4ABF-BD46-4A2FBE1D5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Program for workshop 2 for lokale Aula administratorer: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E53CEE2-4856-443B-89F0-FADD463A0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2BDFC51-3001-4812-9928-69DDF2DD5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950" y="1781652"/>
            <a:ext cx="7730959" cy="2610327"/>
          </a:xfrm>
        </p:spPr>
        <p:txBody>
          <a:bodyPr numCol="2">
            <a:normAutofit fontScale="55000" lnSpcReduction="20000"/>
          </a:bodyPr>
          <a:lstStyle/>
          <a:p>
            <a:endParaRPr lang="da-DK" b="1"/>
          </a:p>
          <a:p>
            <a:pPr marL="342900" indent="-342900">
              <a:buAutoNum type="arabicPeriod"/>
            </a:pPr>
            <a:r>
              <a:rPr lang="da-DK" b="1"/>
              <a:t>OPSÆTNINGSOPGAVER</a:t>
            </a:r>
          </a:p>
          <a:p>
            <a:pPr marL="342900" indent="-342900">
              <a:buAutoNum type="arabicPeriod"/>
            </a:pPr>
            <a:endParaRPr lang="da-DK" b="1"/>
          </a:p>
          <a:p>
            <a:pPr marL="342900" indent="-342900">
              <a:buFont typeface="+mj-lt"/>
              <a:buAutoNum type="alphaLcPeriod"/>
            </a:pPr>
            <a:r>
              <a:rPr lang="da-DK"/>
              <a:t>Verificere, at Aula-administrator har fået tildelt rollen som institutionsadministrator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Kvalitetssikre data fra UNI-login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Oprette og opsætte grupper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Oprette fællespostkasser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Tildele roller og rettigheder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Oprette ressourcer, der kan bookes i Aula</a:t>
            </a:r>
          </a:p>
          <a:p>
            <a:pPr marL="342900" indent="-342900">
              <a:buFont typeface="+mj-lt"/>
              <a:buAutoNum type="alphaLcPeriod"/>
            </a:pPr>
            <a:endParaRPr lang="da-DK"/>
          </a:p>
          <a:p>
            <a:pPr marL="342900" indent="-342900">
              <a:buFont typeface="+mj-lt"/>
              <a:buAutoNum type="alphaLcPeriod"/>
            </a:pPr>
            <a:r>
              <a:rPr lang="da-DK"/>
              <a:t>Tilladelser og samtykker</a:t>
            </a:r>
          </a:p>
          <a:p>
            <a:pPr>
              <a:buFont typeface="+mj-lt"/>
              <a:buAutoNum type="alphaLcPeriod"/>
            </a:pPr>
            <a:endParaRPr lang="da-DK"/>
          </a:p>
          <a:p>
            <a:r>
              <a:rPr lang="da-DK" b="1"/>
              <a:t>2. VIGTIG INFORMATION</a:t>
            </a:r>
          </a:p>
          <a:p>
            <a:endParaRPr lang="da-DK" b="1"/>
          </a:p>
          <a:p>
            <a:pPr marL="342900" indent="-342900">
              <a:buFont typeface="+mj-lt"/>
              <a:buAutoNum type="alphaLcParenR"/>
            </a:pPr>
            <a:r>
              <a:rPr lang="da-DK"/>
              <a:t>Dashboards</a:t>
            </a:r>
          </a:p>
          <a:p>
            <a:pPr marL="342900" indent="-342900">
              <a:buFont typeface="+mj-lt"/>
              <a:buAutoNum type="alphaLcParenR"/>
            </a:pPr>
            <a:endParaRPr lang="da-DK"/>
          </a:p>
          <a:p>
            <a:pPr marL="342900" indent="-342900">
              <a:buFont typeface="+mj-lt"/>
              <a:buAutoNum type="alphaLcParenR"/>
            </a:pPr>
            <a:r>
              <a:rPr lang="da-DK"/>
              <a:t>Godkendte modtagere</a:t>
            </a:r>
          </a:p>
          <a:p>
            <a:pPr marL="342900" indent="-342900">
              <a:buFont typeface="+mj-lt"/>
              <a:buAutoNum type="alphaLcParenR"/>
            </a:pPr>
            <a:endParaRPr lang="da-DK"/>
          </a:p>
          <a:p>
            <a:pPr marL="342900" indent="-342900">
              <a:buFont typeface="+mj-lt"/>
              <a:buAutoNum type="alphaLcParenR"/>
            </a:pPr>
            <a:r>
              <a:rPr lang="da-DK"/>
              <a:t>Fælles fil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96439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8B1822B-FF0F-440A-8B5A-8E6F2A91C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ruppetræ og opsætningsoversigt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6937CD7-B1B4-41DC-AB13-E6E5961A1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5E228EE-308A-45B2-B307-8C4EBA61C7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1866" y="1781652"/>
            <a:ext cx="6262523" cy="2610327"/>
          </a:xfrm>
        </p:spPr>
        <p:txBody>
          <a:bodyPr>
            <a:normAutofit fontScale="92500" lnSpcReduction="20000"/>
          </a:bodyPr>
          <a:lstStyle/>
          <a:p>
            <a:r>
              <a:rPr lang="da-DK"/>
              <a:t>Udviklet i samarbejde med og på baggrund af erfaringer fra pilotskolerne</a:t>
            </a:r>
          </a:p>
          <a:p>
            <a:endParaRPr lang="da-DK"/>
          </a:p>
          <a:p>
            <a:r>
              <a:rPr lang="da-DK"/>
              <a:t>Brug gruppetræ og opsætningsoversigt som grundskabelon - tilpas kun hvis behov</a:t>
            </a:r>
          </a:p>
          <a:p>
            <a:endParaRPr lang="da-DK"/>
          </a:p>
          <a:p>
            <a:r>
              <a:rPr lang="da-DK"/>
              <a:t>Vent med at oprette flere grupper, til I har erfaret, om der er et behov</a:t>
            </a:r>
          </a:p>
          <a:p>
            <a:endParaRPr lang="da-DK"/>
          </a:p>
          <a:p>
            <a:r>
              <a:rPr lang="da-DK"/>
              <a:t>I skal selv vedligeholde gruppetræet og opsætningsoversigten, hvis I laver lokale tilpasninger</a:t>
            </a:r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5ECB82C-AD73-4FB1-AA25-390E15B1A2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65" y="1755971"/>
            <a:ext cx="307181" cy="292894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A2411C3-6308-46CF-96AF-77B7E631DA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738" y="2488506"/>
            <a:ext cx="307181" cy="292894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7FC8FA03-ABBB-4BDB-9D9F-3C5BB1F3CC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738" y="3221046"/>
            <a:ext cx="307181" cy="292894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872E2A58-BD26-4478-980F-7C14D27942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738" y="3854324"/>
            <a:ext cx="307181" cy="2928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992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62A525-BD32-4A61-8595-BD2083CB7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ruppetræ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29E7084-EE32-4EEA-9082-083FB0CF4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950" y="557213"/>
            <a:ext cx="5353050" cy="234724"/>
          </a:xfrm>
        </p:spPr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E0D8006-5635-46BC-8F0F-1BF6E1AD4431}"/>
              </a:ext>
            </a:extLst>
          </p:cNvPr>
          <p:cNvSpPr/>
          <p:nvPr/>
        </p:nvSpPr>
        <p:spPr>
          <a:xfrm>
            <a:off x="84667" y="1741492"/>
            <a:ext cx="8983133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53" b="1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C2E4BED6-0E7F-4B0B-9B69-28C68AE7AD7D}"/>
              </a:ext>
            </a:extLst>
          </p:cNvPr>
          <p:cNvSpPr txBox="1"/>
          <p:nvPr/>
        </p:nvSpPr>
        <p:spPr>
          <a:xfrm>
            <a:off x="1259103" y="2472203"/>
            <a:ext cx="142583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ROLLER/UDDANNELSE</a:t>
            </a:r>
          </a:p>
        </p:txBody>
      </p:sp>
      <p:grpSp>
        <p:nvGrpSpPr>
          <p:cNvPr id="40" name="Gruppe 39">
            <a:extLst>
              <a:ext uri="{FF2B5EF4-FFF2-40B4-BE49-F238E27FC236}">
                <a16:creationId xmlns:a16="http://schemas.microsoft.com/office/drawing/2014/main" id="{8BAE934C-ECD9-4F26-898A-1DD7EBAA7DDD}"/>
              </a:ext>
            </a:extLst>
          </p:cNvPr>
          <p:cNvGrpSpPr/>
          <p:nvPr/>
        </p:nvGrpSpPr>
        <p:grpSpPr>
          <a:xfrm>
            <a:off x="1252606" y="1871099"/>
            <a:ext cx="1953773" cy="292894"/>
            <a:chOff x="571039" y="1983246"/>
            <a:chExt cx="2605031" cy="390525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07E8F757-77EE-4435-AEA7-8DAAAFF6E660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ommunale tilbud</a:t>
              </a:r>
            </a:p>
          </p:txBody>
        </p:sp>
        <p:pic>
          <p:nvPicPr>
            <p:cNvPr id="39" name="Picture 2">
              <a:extLst>
                <a:ext uri="{FF2B5EF4-FFF2-40B4-BE49-F238E27FC236}">
                  <a16:creationId xmlns:a16="http://schemas.microsoft.com/office/drawing/2014/main" id="{9AD37961-D426-483E-A106-9ABBE2527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51A4923A-9A00-48A5-8C37-D4F75E4E4B89}"/>
              </a:ext>
            </a:extLst>
          </p:cNvPr>
          <p:cNvGrpSpPr/>
          <p:nvPr/>
        </p:nvGrpSpPr>
        <p:grpSpPr>
          <a:xfrm>
            <a:off x="3964797" y="1872329"/>
            <a:ext cx="1962240" cy="292894"/>
            <a:chOff x="571039" y="1983246"/>
            <a:chExt cx="2616320" cy="390525"/>
          </a:xfrm>
        </p:grpSpPr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831F4B02-ABC1-47CC-9358-5CC435602C21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antine-info</a:t>
              </a:r>
            </a:p>
          </p:txBody>
        </p:sp>
        <p:pic>
          <p:nvPicPr>
            <p:cNvPr id="43" name="Picture 2">
              <a:extLst>
                <a:ext uri="{FF2B5EF4-FFF2-40B4-BE49-F238E27FC236}">
                  <a16:creationId xmlns:a16="http://schemas.microsoft.com/office/drawing/2014/main" id="{C249BA31-6D40-46FC-BDC8-00E3AED7F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16658E99-AE66-47EA-9BE6-9EE17D356F2E}"/>
              </a:ext>
            </a:extLst>
          </p:cNvPr>
          <p:cNvGrpSpPr/>
          <p:nvPr/>
        </p:nvGrpSpPr>
        <p:grpSpPr>
          <a:xfrm>
            <a:off x="6445085" y="1871099"/>
            <a:ext cx="1962240" cy="292894"/>
            <a:chOff x="571039" y="1983246"/>
            <a:chExt cx="2616320" cy="390525"/>
          </a:xfrm>
        </p:grpSpPr>
        <p:sp>
          <p:nvSpPr>
            <p:cNvPr id="45" name="Rektangel 44">
              <a:extLst>
                <a:ext uri="{FF2B5EF4-FFF2-40B4-BE49-F238E27FC236}">
                  <a16:creationId xmlns:a16="http://schemas.microsoft.com/office/drawing/2014/main" id="{390EFB70-01EB-408A-8362-ED0253A9B067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Skole-info</a:t>
              </a:r>
            </a:p>
          </p:txBody>
        </p:sp>
        <p:pic>
          <p:nvPicPr>
            <p:cNvPr id="46" name="Picture 2">
              <a:extLst>
                <a:ext uri="{FF2B5EF4-FFF2-40B4-BE49-F238E27FC236}">
                  <a16:creationId xmlns:a16="http://schemas.microsoft.com/office/drawing/2014/main" id="{C43D521A-110D-4A7C-B2E1-04256F873E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F889547E-6BFE-4969-8AE6-F80D748375E7}"/>
              </a:ext>
            </a:extLst>
          </p:cNvPr>
          <p:cNvGrpSpPr/>
          <p:nvPr/>
        </p:nvGrpSpPr>
        <p:grpSpPr>
          <a:xfrm>
            <a:off x="134047" y="3735368"/>
            <a:ext cx="1962240" cy="292894"/>
            <a:chOff x="571039" y="1983246"/>
            <a:chExt cx="2616320" cy="390525"/>
          </a:xfrm>
        </p:grpSpPr>
        <p:sp>
          <p:nvSpPr>
            <p:cNvPr id="48" name="Rektangel 47">
              <a:extLst>
                <a:ext uri="{FF2B5EF4-FFF2-40B4-BE49-F238E27FC236}">
                  <a16:creationId xmlns:a16="http://schemas.microsoft.com/office/drawing/2014/main" id="{B96F3DB3-DD10-4A56-A978-0289A7CF6D8A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Personale</a:t>
              </a:r>
            </a:p>
            <a:p>
              <a:r>
                <a:rPr lang="da-DK" sz="1050">
                  <a:solidFill>
                    <a:schemeClr val="tx1"/>
                  </a:solidFill>
                </a:rPr>
                <a:t>alle</a:t>
              </a:r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0CBBC181-876B-45D2-9D22-4543E46C6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53A9421-214E-42B6-B7A0-8805F37625EB}"/>
              </a:ext>
            </a:extLst>
          </p:cNvPr>
          <p:cNvGrpSpPr/>
          <p:nvPr/>
        </p:nvGrpSpPr>
        <p:grpSpPr>
          <a:xfrm>
            <a:off x="1275224" y="2744046"/>
            <a:ext cx="1962240" cy="292894"/>
            <a:chOff x="571039" y="1983246"/>
            <a:chExt cx="2616320" cy="390525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3BD0AA8C-2025-4F2A-9B3C-6700D5FDD2FC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Ledelse</a:t>
              </a:r>
            </a:p>
          </p:txBody>
        </p:sp>
        <p:pic>
          <p:nvPicPr>
            <p:cNvPr id="52" name="Picture 2">
              <a:extLst>
                <a:ext uri="{FF2B5EF4-FFF2-40B4-BE49-F238E27FC236}">
                  <a16:creationId xmlns:a16="http://schemas.microsoft.com/office/drawing/2014/main" id="{2AB85390-104C-4D66-AF0C-3C19A7B4D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361AD105-7493-4A9E-BC73-C925AEBD7089}"/>
              </a:ext>
            </a:extLst>
          </p:cNvPr>
          <p:cNvGrpSpPr/>
          <p:nvPr/>
        </p:nvGrpSpPr>
        <p:grpSpPr>
          <a:xfrm>
            <a:off x="1275224" y="3139231"/>
            <a:ext cx="1962240" cy="292894"/>
            <a:chOff x="571039" y="1983246"/>
            <a:chExt cx="2616320" cy="390525"/>
          </a:xfrm>
        </p:grpSpPr>
        <p:sp>
          <p:nvSpPr>
            <p:cNvPr id="54" name="Rektangel 53">
              <a:extLst>
                <a:ext uri="{FF2B5EF4-FFF2-40B4-BE49-F238E27FC236}">
                  <a16:creationId xmlns:a16="http://schemas.microsoft.com/office/drawing/2014/main" id="{90A11DEF-1671-4311-8233-DECB6994E24B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Administration</a:t>
              </a:r>
            </a:p>
          </p:txBody>
        </p:sp>
        <p:pic>
          <p:nvPicPr>
            <p:cNvPr id="55" name="Picture 2">
              <a:extLst>
                <a:ext uri="{FF2B5EF4-FFF2-40B4-BE49-F238E27FC236}">
                  <a16:creationId xmlns:a16="http://schemas.microsoft.com/office/drawing/2014/main" id="{8F18AA1A-9F29-49D1-A134-67316A575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56" name="Gruppe 55">
            <a:extLst>
              <a:ext uri="{FF2B5EF4-FFF2-40B4-BE49-F238E27FC236}">
                <a16:creationId xmlns:a16="http://schemas.microsoft.com/office/drawing/2014/main" id="{8CE687D5-9732-4258-A80D-6FE587553CF9}"/>
              </a:ext>
            </a:extLst>
          </p:cNvPr>
          <p:cNvGrpSpPr/>
          <p:nvPr/>
        </p:nvGrpSpPr>
        <p:grpSpPr>
          <a:xfrm>
            <a:off x="7777745" y="2668714"/>
            <a:ext cx="1953773" cy="292894"/>
            <a:chOff x="571039" y="1983246"/>
            <a:chExt cx="2605031" cy="390525"/>
          </a:xfrm>
        </p:grpSpPr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CA5B81F0-3064-4D53-AD40-EF9A811C4064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ommunale</a:t>
              </a:r>
            </a:p>
            <a:p>
              <a:r>
                <a:rPr lang="da-DK" sz="1050">
                  <a:solidFill>
                    <a:schemeClr val="tx1"/>
                  </a:solidFill>
                </a:rPr>
                <a:t>tilbud - særlige</a:t>
              </a:r>
            </a:p>
          </p:txBody>
        </p:sp>
        <p:pic>
          <p:nvPicPr>
            <p:cNvPr id="58" name="Picture 2">
              <a:extLst>
                <a:ext uri="{FF2B5EF4-FFF2-40B4-BE49-F238E27FC236}">
                  <a16:creationId xmlns:a16="http://schemas.microsoft.com/office/drawing/2014/main" id="{36774BA3-0015-4130-8D19-41521A1A4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61" name="Gruppe 60">
            <a:extLst>
              <a:ext uri="{FF2B5EF4-FFF2-40B4-BE49-F238E27FC236}">
                <a16:creationId xmlns:a16="http://schemas.microsoft.com/office/drawing/2014/main" id="{2151EBC2-5FA2-4F67-BFCA-3BA954F0255E}"/>
              </a:ext>
            </a:extLst>
          </p:cNvPr>
          <p:cNvGrpSpPr/>
          <p:nvPr/>
        </p:nvGrpSpPr>
        <p:grpSpPr>
          <a:xfrm>
            <a:off x="6451238" y="2736287"/>
            <a:ext cx="1953773" cy="292894"/>
            <a:chOff x="571039" y="1983246"/>
            <a:chExt cx="2605031" cy="390525"/>
          </a:xfrm>
        </p:grpSpPr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2D2D271B-3ADC-481E-A0D5-ED93281F8754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PLC/</a:t>
              </a:r>
              <a:r>
                <a:rPr lang="da-DK" sz="1050" err="1">
                  <a:solidFill>
                    <a:schemeClr val="tx1"/>
                  </a:solidFill>
                </a:rPr>
                <a:t>ress.center</a:t>
              </a:r>
              <a:endParaRPr lang="da-DK" sz="1050">
                <a:solidFill>
                  <a:schemeClr val="tx1"/>
                </a:solidFill>
              </a:endParaRPr>
            </a:p>
            <a:p>
              <a:r>
                <a:rPr lang="da-DK" sz="1050">
                  <a:solidFill>
                    <a:schemeClr val="tx1"/>
                  </a:solidFill>
                </a:rPr>
                <a:t>/bibliotek</a:t>
              </a:r>
            </a:p>
          </p:txBody>
        </p:sp>
        <p:pic>
          <p:nvPicPr>
            <p:cNvPr id="63" name="Picture 2">
              <a:extLst>
                <a:ext uri="{FF2B5EF4-FFF2-40B4-BE49-F238E27FC236}">
                  <a16:creationId xmlns:a16="http://schemas.microsoft.com/office/drawing/2014/main" id="{74D318A0-71B5-41CF-86F0-2D40E83B5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F0B61554-7562-46CA-8A20-E89CB6C6F5D3}"/>
              </a:ext>
            </a:extLst>
          </p:cNvPr>
          <p:cNvGrpSpPr/>
          <p:nvPr/>
        </p:nvGrpSpPr>
        <p:grpSpPr>
          <a:xfrm>
            <a:off x="5179204" y="2737104"/>
            <a:ext cx="1953773" cy="292894"/>
            <a:chOff x="571039" y="1983246"/>
            <a:chExt cx="2605031" cy="390525"/>
          </a:xfrm>
        </p:grpSpPr>
        <p:sp>
          <p:nvSpPr>
            <p:cNvPr id="65" name="Rektangel 64">
              <a:extLst>
                <a:ext uri="{FF2B5EF4-FFF2-40B4-BE49-F238E27FC236}">
                  <a16:creationId xmlns:a16="http://schemas.microsoft.com/office/drawing/2014/main" id="{8997A03C-ECB6-491B-9BDE-2F4DF6728D12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MED-udvalg</a:t>
              </a:r>
            </a:p>
          </p:txBody>
        </p:sp>
        <p:pic>
          <p:nvPicPr>
            <p:cNvPr id="66" name="Picture 2">
              <a:extLst>
                <a:ext uri="{FF2B5EF4-FFF2-40B4-BE49-F238E27FC236}">
                  <a16:creationId xmlns:a16="http://schemas.microsoft.com/office/drawing/2014/main" id="{6132CC3A-7073-4B77-930B-C66025C67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67" name="Gruppe 66">
            <a:extLst>
              <a:ext uri="{FF2B5EF4-FFF2-40B4-BE49-F238E27FC236}">
                <a16:creationId xmlns:a16="http://schemas.microsoft.com/office/drawing/2014/main" id="{6836D8DE-52D5-44D5-AB90-D4D14A276B6C}"/>
              </a:ext>
            </a:extLst>
          </p:cNvPr>
          <p:cNvGrpSpPr/>
          <p:nvPr/>
        </p:nvGrpSpPr>
        <p:grpSpPr>
          <a:xfrm>
            <a:off x="3964798" y="2748568"/>
            <a:ext cx="1953773" cy="292894"/>
            <a:chOff x="571039" y="1983246"/>
            <a:chExt cx="2605031" cy="390525"/>
          </a:xfrm>
        </p:grpSpPr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FD73B746-4D39-4679-8B8D-4BDAD8DD41FD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Årgangsteams</a:t>
              </a:r>
            </a:p>
          </p:txBody>
        </p:sp>
        <p:pic>
          <p:nvPicPr>
            <p:cNvPr id="69" name="Picture 2">
              <a:extLst>
                <a:ext uri="{FF2B5EF4-FFF2-40B4-BE49-F238E27FC236}">
                  <a16:creationId xmlns:a16="http://schemas.microsoft.com/office/drawing/2014/main" id="{E697D190-24DB-4E1C-AB23-FA65921E1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70" name="Gruppe 69">
            <a:extLst>
              <a:ext uri="{FF2B5EF4-FFF2-40B4-BE49-F238E27FC236}">
                <a16:creationId xmlns:a16="http://schemas.microsoft.com/office/drawing/2014/main" id="{68D8B369-F13C-418E-8431-2059152D043A}"/>
              </a:ext>
            </a:extLst>
          </p:cNvPr>
          <p:cNvGrpSpPr/>
          <p:nvPr/>
        </p:nvGrpSpPr>
        <p:grpSpPr>
          <a:xfrm>
            <a:off x="2721499" y="2740732"/>
            <a:ext cx="1953773" cy="292894"/>
            <a:chOff x="571039" y="1983246"/>
            <a:chExt cx="2605031" cy="390525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0EA820C5-9862-4191-A560-FD9C4B30D41A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Indskoling</a:t>
              </a:r>
            </a:p>
          </p:txBody>
        </p:sp>
        <p:pic>
          <p:nvPicPr>
            <p:cNvPr id="72" name="Picture 2">
              <a:extLst>
                <a:ext uri="{FF2B5EF4-FFF2-40B4-BE49-F238E27FC236}">
                  <a16:creationId xmlns:a16="http://schemas.microsoft.com/office/drawing/2014/main" id="{B4690ED7-58E8-4BAC-A331-51F251C6A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73" name="Gruppe 72">
            <a:extLst>
              <a:ext uri="{FF2B5EF4-FFF2-40B4-BE49-F238E27FC236}">
                <a16:creationId xmlns:a16="http://schemas.microsoft.com/office/drawing/2014/main" id="{F437A05A-76FE-496C-8D01-861D47081E18}"/>
              </a:ext>
            </a:extLst>
          </p:cNvPr>
          <p:cNvGrpSpPr/>
          <p:nvPr/>
        </p:nvGrpSpPr>
        <p:grpSpPr>
          <a:xfrm>
            <a:off x="2718672" y="3142722"/>
            <a:ext cx="1953773" cy="292894"/>
            <a:chOff x="571039" y="1983246"/>
            <a:chExt cx="2605031" cy="390525"/>
          </a:xfrm>
        </p:grpSpPr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9BE45602-4EED-4283-B3F1-AFC615D8BADC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Mellemtrin</a:t>
              </a:r>
            </a:p>
          </p:txBody>
        </p:sp>
        <p:pic>
          <p:nvPicPr>
            <p:cNvPr id="75" name="Picture 2">
              <a:extLst>
                <a:ext uri="{FF2B5EF4-FFF2-40B4-BE49-F238E27FC236}">
                  <a16:creationId xmlns:a16="http://schemas.microsoft.com/office/drawing/2014/main" id="{F0CCAF25-28EF-4A85-A0B4-115D7580C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76" name="Gruppe 75">
            <a:extLst>
              <a:ext uri="{FF2B5EF4-FFF2-40B4-BE49-F238E27FC236}">
                <a16:creationId xmlns:a16="http://schemas.microsoft.com/office/drawing/2014/main" id="{8336DC52-FB9A-45C8-9636-0F3EBA167B77}"/>
              </a:ext>
            </a:extLst>
          </p:cNvPr>
          <p:cNvGrpSpPr/>
          <p:nvPr/>
        </p:nvGrpSpPr>
        <p:grpSpPr>
          <a:xfrm>
            <a:off x="2718672" y="3537890"/>
            <a:ext cx="1953773" cy="292894"/>
            <a:chOff x="571039" y="1983246"/>
            <a:chExt cx="2605031" cy="390525"/>
          </a:xfrm>
        </p:grpSpPr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331ADA1D-325A-42F1-81D0-313A5389A100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Udskoling</a:t>
              </a:r>
            </a:p>
          </p:txBody>
        </p:sp>
        <p:pic>
          <p:nvPicPr>
            <p:cNvPr id="78" name="Picture 2">
              <a:extLst>
                <a:ext uri="{FF2B5EF4-FFF2-40B4-BE49-F238E27FC236}">
                  <a16:creationId xmlns:a16="http://schemas.microsoft.com/office/drawing/2014/main" id="{BAEA8372-0F07-4C8C-BCBB-0DA896CAC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79" name="Gruppe 78">
            <a:extLst>
              <a:ext uri="{FF2B5EF4-FFF2-40B4-BE49-F238E27FC236}">
                <a16:creationId xmlns:a16="http://schemas.microsoft.com/office/drawing/2014/main" id="{0C8C0D8A-E151-459F-AA51-84173F93CC36}"/>
              </a:ext>
            </a:extLst>
          </p:cNvPr>
          <p:cNvGrpSpPr/>
          <p:nvPr/>
        </p:nvGrpSpPr>
        <p:grpSpPr>
          <a:xfrm>
            <a:off x="2718672" y="3931806"/>
            <a:ext cx="1953773" cy="292894"/>
            <a:chOff x="571039" y="1983246"/>
            <a:chExt cx="2605031" cy="390525"/>
          </a:xfrm>
        </p:grpSpPr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B755210-04B4-4F58-9016-E111183723C3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Afdeling på</a:t>
              </a:r>
            </a:p>
            <a:p>
              <a:r>
                <a:rPr lang="da-DK" sz="1050">
                  <a:solidFill>
                    <a:schemeClr val="tx1"/>
                  </a:solidFill>
                </a:rPr>
                <a:t>forsk. lokationer</a:t>
              </a:r>
            </a:p>
          </p:txBody>
        </p:sp>
        <p:pic>
          <p:nvPicPr>
            <p:cNvPr id="81" name="Picture 2">
              <a:extLst>
                <a:ext uri="{FF2B5EF4-FFF2-40B4-BE49-F238E27FC236}">
                  <a16:creationId xmlns:a16="http://schemas.microsoft.com/office/drawing/2014/main" id="{A47A0705-C9F1-4D58-8DDF-07DE954B7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82" name="Gruppe 81">
            <a:extLst>
              <a:ext uri="{FF2B5EF4-FFF2-40B4-BE49-F238E27FC236}">
                <a16:creationId xmlns:a16="http://schemas.microsoft.com/office/drawing/2014/main" id="{D44AC420-D175-4DDD-A10A-94D87684A9AF}"/>
              </a:ext>
            </a:extLst>
          </p:cNvPr>
          <p:cNvGrpSpPr/>
          <p:nvPr/>
        </p:nvGrpSpPr>
        <p:grpSpPr>
          <a:xfrm>
            <a:off x="3946124" y="3143022"/>
            <a:ext cx="1953773" cy="292894"/>
            <a:chOff x="571039" y="1983246"/>
            <a:chExt cx="2605031" cy="390525"/>
          </a:xfrm>
        </p:grpSpPr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916CF50D-3E27-4C38-B8CB-8AD6398A86C8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lasseteams</a:t>
              </a:r>
            </a:p>
          </p:txBody>
        </p:sp>
        <p:pic>
          <p:nvPicPr>
            <p:cNvPr id="84" name="Picture 2">
              <a:extLst>
                <a:ext uri="{FF2B5EF4-FFF2-40B4-BE49-F238E27FC236}">
                  <a16:creationId xmlns:a16="http://schemas.microsoft.com/office/drawing/2014/main" id="{A82B7451-DD8E-458C-941E-71C743C72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85" name="Gruppe 84">
            <a:extLst>
              <a:ext uri="{FF2B5EF4-FFF2-40B4-BE49-F238E27FC236}">
                <a16:creationId xmlns:a16="http://schemas.microsoft.com/office/drawing/2014/main" id="{F906CC5F-DD11-4BB4-AB56-EA0944EA4D9B}"/>
              </a:ext>
            </a:extLst>
          </p:cNvPr>
          <p:cNvGrpSpPr/>
          <p:nvPr/>
        </p:nvGrpSpPr>
        <p:grpSpPr>
          <a:xfrm>
            <a:off x="5179204" y="3140742"/>
            <a:ext cx="1953773" cy="292894"/>
            <a:chOff x="571039" y="1983246"/>
            <a:chExt cx="2605031" cy="390525"/>
          </a:xfrm>
        </p:grpSpPr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9B69588F-6BEB-485E-8CB2-980A3F7B5CC0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AMR</a:t>
              </a:r>
            </a:p>
          </p:txBody>
        </p:sp>
        <p:pic>
          <p:nvPicPr>
            <p:cNvPr id="87" name="Picture 2">
              <a:extLst>
                <a:ext uri="{FF2B5EF4-FFF2-40B4-BE49-F238E27FC236}">
                  <a16:creationId xmlns:a16="http://schemas.microsoft.com/office/drawing/2014/main" id="{6F8EA356-E17B-4CFE-AED7-1D310C269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88" name="Gruppe 87">
            <a:extLst>
              <a:ext uri="{FF2B5EF4-FFF2-40B4-BE49-F238E27FC236}">
                <a16:creationId xmlns:a16="http://schemas.microsoft.com/office/drawing/2014/main" id="{E2444433-746B-480A-9748-0628650477A7}"/>
              </a:ext>
            </a:extLst>
          </p:cNvPr>
          <p:cNvGrpSpPr/>
          <p:nvPr/>
        </p:nvGrpSpPr>
        <p:grpSpPr>
          <a:xfrm>
            <a:off x="1259103" y="3534416"/>
            <a:ext cx="1953773" cy="292894"/>
            <a:chOff x="571039" y="1983246"/>
            <a:chExt cx="2605031" cy="390525"/>
          </a:xfrm>
        </p:grpSpPr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DA97B755-5923-462E-BAA0-8F3B900050D9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Lærere</a:t>
              </a:r>
            </a:p>
          </p:txBody>
        </p:sp>
        <p:pic>
          <p:nvPicPr>
            <p:cNvPr id="90" name="Picture 2">
              <a:extLst>
                <a:ext uri="{FF2B5EF4-FFF2-40B4-BE49-F238E27FC236}">
                  <a16:creationId xmlns:a16="http://schemas.microsoft.com/office/drawing/2014/main" id="{CF84FB5A-D54E-48D6-BD69-444806704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91" name="Gruppe 90">
            <a:extLst>
              <a:ext uri="{FF2B5EF4-FFF2-40B4-BE49-F238E27FC236}">
                <a16:creationId xmlns:a16="http://schemas.microsoft.com/office/drawing/2014/main" id="{0A9DA61D-3F7C-4EF8-9FE9-89D617A22915}"/>
              </a:ext>
            </a:extLst>
          </p:cNvPr>
          <p:cNvGrpSpPr/>
          <p:nvPr/>
        </p:nvGrpSpPr>
        <p:grpSpPr>
          <a:xfrm>
            <a:off x="1273173" y="3929601"/>
            <a:ext cx="1953773" cy="292894"/>
            <a:chOff x="571039" y="1983246"/>
            <a:chExt cx="2605031" cy="390525"/>
          </a:xfrm>
        </p:grpSpPr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573C0FBB-C9A5-4E28-802E-493DDDF59136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SFO-personale</a:t>
              </a:r>
            </a:p>
          </p:txBody>
        </p:sp>
        <p:pic>
          <p:nvPicPr>
            <p:cNvPr id="93" name="Picture 2">
              <a:extLst>
                <a:ext uri="{FF2B5EF4-FFF2-40B4-BE49-F238E27FC236}">
                  <a16:creationId xmlns:a16="http://schemas.microsoft.com/office/drawing/2014/main" id="{1D8DE975-8D07-4C49-AB0B-17D03113A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94" name="Gruppe 93">
            <a:extLst>
              <a:ext uri="{FF2B5EF4-FFF2-40B4-BE49-F238E27FC236}">
                <a16:creationId xmlns:a16="http://schemas.microsoft.com/office/drawing/2014/main" id="{8FE1CC72-B94D-43A1-A374-797F4CA31BCB}"/>
              </a:ext>
            </a:extLst>
          </p:cNvPr>
          <p:cNvGrpSpPr/>
          <p:nvPr/>
        </p:nvGrpSpPr>
        <p:grpSpPr>
          <a:xfrm>
            <a:off x="1275225" y="4324785"/>
            <a:ext cx="1953773" cy="292894"/>
            <a:chOff x="571039" y="1983246"/>
            <a:chExt cx="2605031" cy="390525"/>
          </a:xfrm>
        </p:grpSpPr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470BB61A-F1EF-4A3E-9F1A-28FABC68165F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TAP-personale</a:t>
              </a:r>
            </a:p>
          </p:txBody>
        </p:sp>
        <p:pic>
          <p:nvPicPr>
            <p:cNvPr id="96" name="Picture 2">
              <a:extLst>
                <a:ext uri="{FF2B5EF4-FFF2-40B4-BE49-F238E27FC236}">
                  <a16:creationId xmlns:a16="http://schemas.microsoft.com/office/drawing/2014/main" id="{3FB02D6C-88D5-43C2-BB56-DD5A618EB3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97" name="Gruppe 96">
            <a:extLst>
              <a:ext uri="{FF2B5EF4-FFF2-40B4-BE49-F238E27FC236}">
                <a16:creationId xmlns:a16="http://schemas.microsoft.com/office/drawing/2014/main" id="{85777E73-B972-49B7-9FE9-E1D0274A5FD9}"/>
              </a:ext>
            </a:extLst>
          </p:cNvPr>
          <p:cNvGrpSpPr/>
          <p:nvPr/>
        </p:nvGrpSpPr>
        <p:grpSpPr>
          <a:xfrm>
            <a:off x="1273173" y="4719970"/>
            <a:ext cx="1953773" cy="292894"/>
            <a:chOff x="571039" y="1983246"/>
            <a:chExt cx="2605031" cy="390525"/>
          </a:xfrm>
        </p:grpSpPr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47C519BC-5D1F-4645-B37C-A3F973F72BF5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antinepersonale</a:t>
              </a:r>
            </a:p>
          </p:txBody>
        </p:sp>
        <p:pic>
          <p:nvPicPr>
            <p:cNvPr id="99" name="Picture 2">
              <a:extLst>
                <a:ext uri="{FF2B5EF4-FFF2-40B4-BE49-F238E27FC236}">
                  <a16:creationId xmlns:a16="http://schemas.microsoft.com/office/drawing/2014/main" id="{3CAE6666-9E8F-4888-87DC-E2F5C8982C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100" name="Gruppe 99">
            <a:extLst>
              <a:ext uri="{FF2B5EF4-FFF2-40B4-BE49-F238E27FC236}">
                <a16:creationId xmlns:a16="http://schemas.microsoft.com/office/drawing/2014/main" id="{8F711B0A-D176-43CF-BBBF-602FE69EB10E}"/>
              </a:ext>
            </a:extLst>
          </p:cNvPr>
          <p:cNvGrpSpPr/>
          <p:nvPr/>
        </p:nvGrpSpPr>
        <p:grpSpPr>
          <a:xfrm>
            <a:off x="1259103" y="5115154"/>
            <a:ext cx="1953773" cy="292894"/>
            <a:chOff x="571039" y="1983246"/>
            <a:chExt cx="2605031" cy="390525"/>
          </a:xfrm>
        </p:grpSpPr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B496C609-A117-4F9F-A6BC-F9CB4CA16314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Teknisk Service</a:t>
              </a:r>
            </a:p>
          </p:txBody>
        </p:sp>
        <p:pic>
          <p:nvPicPr>
            <p:cNvPr id="102" name="Picture 2">
              <a:extLst>
                <a:ext uri="{FF2B5EF4-FFF2-40B4-BE49-F238E27FC236}">
                  <a16:creationId xmlns:a16="http://schemas.microsoft.com/office/drawing/2014/main" id="{1E1056B9-5432-4D2A-80A2-1DBB66F70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sp>
        <p:nvSpPr>
          <p:cNvPr id="103" name="Tekstfelt 102">
            <a:extLst>
              <a:ext uri="{FF2B5EF4-FFF2-40B4-BE49-F238E27FC236}">
                <a16:creationId xmlns:a16="http://schemas.microsoft.com/office/drawing/2014/main" id="{1DE10916-67EA-4A1B-BE72-8D7BA8B08A7D}"/>
              </a:ext>
            </a:extLst>
          </p:cNvPr>
          <p:cNvSpPr txBox="1"/>
          <p:nvPr/>
        </p:nvSpPr>
        <p:spPr>
          <a:xfrm>
            <a:off x="2686251" y="2469218"/>
            <a:ext cx="14258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AFDELINGER</a:t>
            </a:r>
          </a:p>
        </p:txBody>
      </p:sp>
      <p:sp>
        <p:nvSpPr>
          <p:cNvPr id="104" name="Tekstfelt 103">
            <a:extLst>
              <a:ext uri="{FF2B5EF4-FFF2-40B4-BE49-F238E27FC236}">
                <a16:creationId xmlns:a16="http://schemas.microsoft.com/office/drawing/2014/main" id="{DDFA5350-AFA3-4999-BD3F-BCCCCAFA695B}"/>
              </a:ext>
            </a:extLst>
          </p:cNvPr>
          <p:cNvSpPr txBox="1"/>
          <p:nvPr/>
        </p:nvSpPr>
        <p:spPr>
          <a:xfrm>
            <a:off x="3948186" y="2476296"/>
            <a:ext cx="14258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TEAMS</a:t>
            </a:r>
          </a:p>
        </p:txBody>
      </p:sp>
      <p:sp>
        <p:nvSpPr>
          <p:cNvPr id="105" name="Tekstfelt 104">
            <a:extLst>
              <a:ext uri="{FF2B5EF4-FFF2-40B4-BE49-F238E27FC236}">
                <a16:creationId xmlns:a16="http://schemas.microsoft.com/office/drawing/2014/main" id="{643C9801-183C-4D31-B273-E5C72B4B35E5}"/>
              </a:ext>
            </a:extLst>
          </p:cNvPr>
          <p:cNvSpPr txBox="1"/>
          <p:nvPr/>
        </p:nvSpPr>
        <p:spPr>
          <a:xfrm>
            <a:off x="5168657" y="2463290"/>
            <a:ext cx="14258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SÆRLIGE UDVALG</a:t>
            </a:r>
          </a:p>
        </p:txBody>
      </p:sp>
      <p:sp>
        <p:nvSpPr>
          <p:cNvPr id="106" name="Tekstfelt 105">
            <a:extLst>
              <a:ext uri="{FF2B5EF4-FFF2-40B4-BE49-F238E27FC236}">
                <a16:creationId xmlns:a16="http://schemas.microsoft.com/office/drawing/2014/main" id="{721FCF46-1D0F-453E-9717-01B64DB25BB6}"/>
              </a:ext>
            </a:extLst>
          </p:cNvPr>
          <p:cNvSpPr txBox="1"/>
          <p:nvPr/>
        </p:nvSpPr>
        <p:spPr>
          <a:xfrm>
            <a:off x="6430591" y="2435661"/>
            <a:ext cx="14258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RESSOURCETEAMS</a:t>
            </a:r>
          </a:p>
        </p:txBody>
      </p:sp>
      <p:grpSp>
        <p:nvGrpSpPr>
          <p:cNvPr id="107" name="Gruppe 106">
            <a:extLst>
              <a:ext uri="{FF2B5EF4-FFF2-40B4-BE49-F238E27FC236}">
                <a16:creationId xmlns:a16="http://schemas.microsoft.com/office/drawing/2014/main" id="{E6A44071-C10C-4EF7-8FD7-630DEB0DCAC2}"/>
              </a:ext>
            </a:extLst>
          </p:cNvPr>
          <p:cNvGrpSpPr/>
          <p:nvPr/>
        </p:nvGrpSpPr>
        <p:grpSpPr>
          <a:xfrm>
            <a:off x="5175788" y="3534416"/>
            <a:ext cx="1953773" cy="292894"/>
            <a:chOff x="571039" y="1983246"/>
            <a:chExt cx="2605031" cy="390525"/>
          </a:xfrm>
        </p:grpSpPr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10C374A8-C5C7-4ABD-95C6-F4A2034EC64A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Fagudvalg</a:t>
              </a:r>
            </a:p>
          </p:txBody>
        </p:sp>
        <p:pic>
          <p:nvPicPr>
            <p:cNvPr id="109" name="Picture 2">
              <a:extLst>
                <a:ext uri="{FF2B5EF4-FFF2-40B4-BE49-F238E27FC236}">
                  <a16:creationId xmlns:a16="http://schemas.microsoft.com/office/drawing/2014/main" id="{EA29A63E-AD38-487F-95C5-722148734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sp>
        <p:nvSpPr>
          <p:cNvPr id="110" name="Tekstfelt 109">
            <a:extLst>
              <a:ext uri="{FF2B5EF4-FFF2-40B4-BE49-F238E27FC236}">
                <a16:creationId xmlns:a16="http://schemas.microsoft.com/office/drawing/2014/main" id="{4C3E74B9-0B1F-4F23-8D95-A0A21087804D}"/>
              </a:ext>
            </a:extLst>
          </p:cNvPr>
          <p:cNvSpPr txBox="1"/>
          <p:nvPr/>
        </p:nvSpPr>
        <p:spPr>
          <a:xfrm>
            <a:off x="7777745" y="2440254"/>
            <a:ext cx="14258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80" b="1">
                <a:solidFill>
                  <a:srgbClr val="2091A2"/>
                </a:solidFill>
              </a:rPr>
              <a:t>ANDET</a:t>
            </a:r>
          </a:p>
        </p:txBody>
      </p:sp>
      <p:grpSp>
        <p:nvGrpSpPr>
          <p:cNvPr id="112" name="Gruppe 111">
            <a:extLst>
              <a:ext uri="{FF2B5EF4-FFF2-40B4-BE49-F238E27FC236}">
                <a16:creationId xmlns:a16="http://schemas.microsoft.com/office/drawing/2014/main" id="{9CC97A57-3BC1-4773-B3F0-D9BA083D0B78}"/>
              </a:ext>
            </a:extLst>
          </p:cNvPr>
          <p:cNvGrpSpPr/>
          <p:nvPr/>
        </p:nvGrpSpPr>
        <p:grpSpPr>
          <a:xfrm>
            <a:off x="6451238" y="3139231"/>
            <a:ext cx="1953773" cy="292894"/>
            <a:chOff x="571039" y="1983246"/>
            <a:chExt cx="2605031" cy="390525"/>
          </a:xfrm>
        </p:grpSpPr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3A9585FF-FC19-4189-9A29-A181020DCD5F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AKT-personale</a:t>
              </a:r>
            </a:p>
          </p:txBody>
        </p:sp>
        <p:pic>
          <p:nvPicPr>
            <p:cNvPr id="114" name="Picture 2">
              <a:extLst>
                <a:ext uri="{FF2B5EF4-FFF2-40B4-BE49-F238E27FC236}">
                  <a16:creationId xmlns:a16="http://schemas.microsoft.com/office/drawing/2014/main" id="{BAEBD238-DF44-4ED0-9008-144A394C1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115" name="Gruppe 114">
            <a:extLst>
              <a:ext uri="{FF2B5EF4-FFF2-40B4-BE49-F238E27FC236}">
                <a16:creationId xmlns:a16="http://schemas.microsoft.com/office/drawing/2014/main" id="{2838BE21-D590-45B3-A680-FF317C20224C}"/>
              </a:ext>
            </a:extLst>
          </p:cNvPr>
          <p:cNvGrpSpPr/>
          <p:nvPr/>
        </p:nvGrpSpPr>
        <p:grpSpPr>
          <a:xfrm>
            <a:off x="6451238" y="3529769"/>
            <a:ext cx="1953773" cy="292894"/>
            <a:chOff x="571039" y="1983246"/>
            <a:chExt cx="2605031" cy="390525"/>
          </a:xfrm>
        </p:grpSpPr>
        <p:sp>
          <p:nvSpPr>
            <p:cNvPr id="116" name="Rektangel 115">
              <a:extLst>
                <a:ext uri="{FF2B5EF4-FFF2-40B4-BE49-F238E27FC236}">
                  <a16:creationId xmlns:a16="http://schemas.microsoft.com/office/drawing/2014/main" id="{B9EF0829-D890-4A61-A5C2-F14383E037AD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Læsevejledere</a:t>
              </a:r>
            </a:p>
          </p:txBody>
        </p:sp>
        <p:pic>
          <p:nvPicPr>
            <p:cNvPr id="117" name="Picture 2">
              <a:extLst>
                <a:ext uri="{FF2B5EF4-FFF2-40B4-BE49-F238E27FC236}">
                  <a16:creationId xmlns:a16="http://schemas.microsoft.com/office/drawing/2014/main" id="{34EA89E7-DE85-43D6-A540-B91B4CC66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118" name="Gruppe 117">
            <a:extLst>
              <a:ext uri="{FF2B5EF4-FFF2-40B4-BE49-F238E27FC236}">
                <a16:creationId xmlns:a16="http://schemas.microsoft.com/office/drawing/2014/main" id="{75C8F4AD-B0C0-4340-BCD7-FF0E6ECF080B}"/>
              </a:ext>
            </a:extLst>
          </p:cNvPr>
          <p:cNvGrpSpPr/>
          <p:nvPr/>
        </p:nvGrpSpPr>
        <p:grpSpPr>
          <a:xfrm>
            <a:off x="6446618" y="3926520"/>
            <a:ext cx="1953773" cy="292894"/>
            <a:chOff x="571039" y="1983246"/>
            <a:chExt cx="2605031" cy="390525"/>
          </a:xfrm>
        </p:grpSpPr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05587FEF-0E07-42A4-97D5-F863CADD1BD1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Matematik-</a:t>
              </a:r>
            </a:p>
            <a:p>
              <a:r>
                <a:rPr lang="da-DK" sz="1050">
                  <a:solidFill>
                    <a:schemeClr val="tx1"/>
                  </a:solidFill>
                </a:rPr>
                <a:t>vejledere</a:t>
              </a:r>
            </a:p>
          </p:txBody>
        </p:sp>
        <p:pic>
          <p:nvPicPr>
            <p:cNvPr id="120" name="Picture 2">
              <a:extLst>
                <a:ext uri="{FF2B5EF4-FFF2-40B4-BE49-F238E27FC236}">
                  <a16:creationId xmlns:a16="http://schemas.microsoft.com/office/drawing/2014/main" id="{681C01B0-4E1E-4C12-AF12-299E2E1A8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121" name="Gruppe 120">
            <a:extLst>
              <a:ext uri="{FF2B5EF4-FFF2-40B4-BE49-F238E27FC236}">
                <a16:creationId xmlns:a16="http://schemas.microsoft.com/office/drawing/2014/main" id="{8BECC468-F1A7-45C4-907A-2F9AA50F14ED}"/>
              </a:ext>
            </a:extLst>
          </p:cNvPr>
          <p:cNvGrpSpPr/>
          <p:nvPr/>
        </p:nvGrpSpPr>
        <p:grpSpPr>
          <a:xfrm>
            <a:off x="6430591" y="4322364"/>
            <a:ext cx="1953773" cy="292894"/>
            <a:chOff x="571039" y="1983246"/>
            <a:chExt cx="2605031" cy="390525"/>
          </a:xfrm>
        </p:grpSpPr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87027BE3-B416-4C7F-A1E2-BAE840B082F6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IT-vejledere</a:t>
              </a:r>
            </a:p>
          </p:txBody>
        </p:sp>
        <p:pic>
          <p:nvPicPr>
            <p:cNvPr id="123" name="Picture 2">
              <a:extLst>
                <a:ext uri="{FF2B5EF4-FFF2-40B4-BE49-F238E27FC236}">
                  <a16:creationId xmlns:a16="http://schemas.microsoft.com/office/drawing/2014/main" id="{3F7C3149-59D6-49B7-9545-9ABC60DC4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sp>
        <p:nvSpPr>
          <p:cNvPr id="124" name="Tekstfelt 123">
            <a:extLst>
              <a:ext uri="{FF2B5EF4-FFF2-40B4-BE49-F238E27FC236}">
                <a16:creationId xmlns:a16="http://schemas.microsoft.com/office/drawing/2014/main" id="{E2658E7D-0A81-4137-A183-A2121735FFEC}"/>
              </a:ext>
            </a:extLst>
          </p:cNvPr>
          <p:cNvSpPr txBox="1"/>
          <p:nvPr/>
        </p:nvSpPr>
        <p:spPr>
          <a:xfrm>
            <a:off x="11363" y="1538891"/>
            <a:ext cx="1125056" cy="416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3" b="1">
                <a:solidFill>
                  <a:srgbClr val="337DA6"/>
                </a:solidFill>
              </a:rPr>
              <a:t>ALLE PÅ SKOLEN</a:t>
            </a:r>
          </a:p>
          <a:p>
            <a:endParaRPr lang="da-DK" sz="1053"/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847DB8F8-F443-46E3-BCF4-1A749C3A4A4D}"/>
              </a:ext>
            </a:extLst>
          </p:cNvPr>
          <p:cNvSpPr/>
          <p:nvPr/>
        </p:nvSpPr>
        <p:spPr>
          <a:xfrm>
            <a:off x="73304" y="2443161"/>
            <a:ext cx="8983133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53" b="1"/>
          </a:p>
        </p:txBody>
      </p:sp>
      <p:sp>
        <p:nvSpPr>
          <p:cNvPr id="126" name="Tekstfelt 125">
            <a:extLst>
              <a:ext uri="{FF2B5EF4-FFF2-40B4-BE49-F238E27FC236}">
                <a16:creationId xmlns:a16="http://schemas.microsoft.com/office/drawing/2014/main" id="{D656759D-F8F5-4856-878E-124AB4418B62}"/>
              </a:ext>
            </a:extLst>
          </p:cNvPr>
          <p:cNvSpPr txBox="1"/>
          <p:nvPr/>
        </p:nvSpPr>
        <p:spPr>
          <a:xfrm>
            <a:off x="0" y="2240560"/>
            <a:ext cx="1359744" cy="416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3" b="1">
                <a:solidFill>
                  <a:srgbClr val="337DA6"/>
                </a:solidFill>
              </a:rPr>
              <a:t>KUN MEDARBEJDERE</a:t>
            </a:r>
          </a:p>
          <a:p>
            <a:endParaRPr lang="da-DK" sz="105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4601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62A525-BD32-4A61-8595-BD2083CB7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ruppetræ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29E7084-EE32-4EEA-9082-083FB0CF4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PSÆTNING AF AUL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E0D8006-5635-46BC-8F0F-1BF6E1AD4431}"/>
              </a:ext>
            </a:extLst>
          </p:cNvPr>
          <p:cNvSpPr/>
          <p:nvPr/>
        </p:nvSpPr>
        <p:spPr>
          <a:xfrm>
            <a:off x="84667" y="1741492"/>
            <a:ext cx="8983133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53" b="1"/>
          </a:p>
        </p:txBody>
      </p: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51A4923A-9A00-48A5-8C37-D4F75E4E4B89}"/>
              </a:ext>
            </a:extLst>
          </p:cNvPr>
          <p:cNvGrpSpPr/>
          <p:nvPr/>
        </p:nvGrpSpPr>
        <p:grpSpPr>
          <a:xfrm>
            <a:off x="3964797" y="1872329"/>
            <a:ext cx="1962240" cy="292894"/>
            <a:chOff x="571039" y="1983246"/>
            <a:chExt cx="2616320" cy="390525"/>
          </a:xfrm>
        </p:grpSpPr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831F4B02-ABC1-47CC-9358-5CC435602C21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Skolebestyrelsen</a:t>
              </a:r>
            </a:p>
          </p:txBody>
        </p:sp>
        <p:pic>
          <p:nvPicPr>
            <p:cNvPr id="43" name="Picture 2">
              <a:extLst>
                <a:ext uri="{FF2B5EF4-FFF2-40B4-BE49-F238E27FC236}">
                  <a16:creationId xmlns:a16="http://schemas.microsoft.com/office/drawing/2014/main" id="{C249BA31-6D40-46FC-BDC8-00E3AED7F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53A9421-214E-42B6-B7A0-8805F37625EB}"/>
              </a:ext>
            </a:extLst>
          </p:cNvPr>
          <p:cNvGrpSpPr/>
          <p:nvPr/>
        </p:nvGrpSpPr>
        <p:grpSpPr>
          <a:xfrm>
            <a:off x="1275224" y="2581614"/>
            <a:ext cx="1962240" cy="292894"/>
            <a:chOff x="571039" y="1983246"/>
            <a:chExt cx="2616320" cy="390525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3BD0AA8C-2025-4F2A-9B3C-6700D5FDD2FC}"/>
                </a:ext>
              </a:extLst>
            </p:cNvPr>
            <p:cNvSpPr/>
            <p:nvPr/>
          </p:nvSpPr>
          <p:spPr>
            <a:xfrm>
              <a:off x="937543" y="1987350"/>
              <a:ext cx="2249816" cy="33265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 dirty="0">
                  <a:solidFill>
                    <a:schemeClr val="tx1"/>
                  </a:solidFill>
                </a:rPr>
                <a:t>Alle forældre i klassen</a:t>
              </a:r>
            </a:p>
          </p:txBody>
        </p:sp>
        <p:pic>
          <p:nvPicPr>
            <p:cNvPr id="52" name="Picture 2">
              <a:extLst>
                <a:ext uri="{FF2B5EF4-FFF2-40B4-BE49-F238E27FC236}">
                  <a16:creationId xmlns:a16="http://schemas.microsoft.com/office/drawing/2014/main" id="{2AB85390-104C-4D66-AF0C-3C19A7B4D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67" name="Gruppe 66">
            <a:extLst>
              <a:ext uri="{FF2B5EF4-FFF2-40B4-BE49-F238E27FC236}">
                <a16:creationId xmlns:a16="http://schemas.microsoft.com/office/drawing/2014/main" id="{6836D8DE-52D5-44D5-AB90-D4D14A276B6C}"/>
              </a:ext>
            </a:extLst>
          </p:cNvPr>
          <p:cNvGrpSpPr/>
          <p:nvPr/>
        </p:nvGrpSpPr>
        <p:grpSpPr>
          <a:xfrm>
            <a:off x="3964798" y="2577116"/>
            <a:ext cx="1953773" cy="292894"/>
            <a:chOff x="571039" y="1983246"/>
            <a:chExt cx="2605031" cy="390525"/>
          </a:xfrm>
        </p:grpSpPr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FD73B746-4D39-4679-8B8D-4BDAD8DD41FD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lasseforældreråd</a:t>
              </a:r>
            </a:p>
          </p:txBody>
        </p:sp>
        <p:pic>
          <p:nvPicPr>
            <p:cNvPr id="69" name="Picture 2">
              <a:extLst>
                <a:ext uri="{FF2B5EF4-FFF2-40B4-BE49-F238E27FC236}">
                  <a16:creationId xmlns:a16="http://schemas.microsoft.com/office/drawing/2014/main" id="{E697D190-24DB-4E1C-AB23-FA65921E1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88" name="Gruppe 87">
            <a:extLst>
              <a:ext uri="{FF2B5EF4-FFF2-40B4-BE49-F238E27FC236}">
                <a16:creationId xmlns:a16="http://schemas.microsoft.com/office/drawing/2014/main" id="{E2444433-746B-480A-9748-0628650477A7}"/>
              </a:ext>
            </a:extLst>
          </p:cNvPr>
          <p:cNvGrpSpPr/>
          <p:nvPr/>
        </p:nvGrpSpPr>
        <p:grpSpPr>
          <a:xfrm>
            <a:off x="1248580" y="3271979"/>
            <a:ext cx="1953773" cy="292894"/>
            <a:chOff x="571039" y="1983246"/>
            <a:chExt cx="2605031" cy="390525"/>
          </a:xfrm>
        </p:grpSpPr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DA97B755-5923-462E-BAA0-8F3B900050D9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Klassegruppe</a:t>
              </a:r>
            </a:p>
            <a:p>
              <a:r>
                <a:rPr lang="da-DK" sz="1050">
                  <a:solidFill>
                    <a:schemeClr val="tx1"/>
                  </a:solidFill>
                </a:rPr>
                <a:t>– elever og medarbejdere</a:t>
              </a:r>
            </a:p>
          </p:txBody>
        </p:sp>
        <p:pic>
          <p:nvPicPr>
            <p:cNvPr id="90" name="Picture 2">
              <a:extLst>
                <a:ext uri="{FF2B5EF4-FFF2-40B4-BE49-F238E27FC236}">
                  <a16:creationId xmlns:a16="http://schemas.microsoft.com/office/drawing/2014/main" id="{CF84FB5A-D54E-48D6-BD69-444806704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grpSp>
        <p:nvGrpSpPr>
          <p:cNvPr id="107" name="Gruppe 106">
            <a:extLst>
              <a:ext uri="{FF2B5EF4-FFF2-40B4-BE49-F238E27FC236}">
                <a16:creationId xmlns:a16="http://schemas.microsoft.com/office/drawing/2014/main" id="{E6A44071-C10C-4EF7-8FD7-630DEB0DCAC2}"/>
              </a:ext>
            </a:extLst>
          </p:cNvPr>
          <p:cNvGrpSpPr/>
          <p:nvPr/>
        </p:nvGrpSpPr>
        <p:grpSpPr>
          <a:xfrm>
            <a:off x="3961969" y="3285309"/>
            <a:ext cx="1953773" cy="292894"/>
            <a:chOff x="571039" y="1983246"/>
            <a:chExt cx="2605031" cy="390525"/>
          </a:xfrm>
        </p:grpSpPr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10C374A8-C5C7-4ABD-95C6-F4A2034EC64A}"/>
                </a:ext>
              </a:extLst>
            </p:cNvPr>
            <p:cNvSpPr/>
            <p:nvPr/>
          </p:nvSpPr>
          <p:spPr>
            <a:xfrm>
              <a:off x="926254" y="1987350"/>
              <a:ext cx="2249816" cy="33265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1050">
                  <a:solidFill>
                    <a:schemeClr val="tx1"/>
                  </a:solidFill>
                </a:rPr>
                <a:t>Elevråd</a:t>
              </a:r>
            </a:p>
          </p:txBody>
        </p:sp>
        <p:pic>
          <p:nvPicPr>
            <p:cNvPr id="109" name="Picture 2">
              <a:extLst>
                <a:ext uri="{FF2B5EF4-FFF2-40B4-BE49-F238E27FC236}">
                  <a16:creationId xmlns:a16="http://schemas.microsoft.com/office/drawing/2014/main" id="{EA29A63E-AD38-487F-95C5-722148734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039" y="1983246"/>
              <a:ext cx="409575" cy="390525"/>
            </a:xfrm>
            <a:prstGeom prst="rect">
              <a:avLst/>
            </a:prstGeom>
          </p:spPr>
        </p:pic>
      </p:grpSp>
      <p:sp>
        <p:nvSpPr>
          <p:cNvPr id="124" name="Tekstfelt 123">
            <a:extLst>
              <a:ext uri="{FF2B5EF4-FFF2-40B4-BE49-F238E27FC236}">
                <a16:creationId xmlns:a16="http://schemas.microsoft.com/office/drawing/2014/main" id="{E2658E7D-0A81-4137-A183-A2121735FFEC}"/>
              </a:ext>
            </a:extLst>
          </p:cNvPr>
          <p:cNvSpPr txBox="1"/>
          <p:nvPr/>
        </p:nvSpPr>
        <p:spPr>
          <a:xfrm>
            <a:off x="11363" y="1538891"/>
            <a:ext cx="1973848" cy="416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3" b="1">
                <a:solidFill>
                  <a:srgbClr val="337DA6"/>
                </a:solidFill>
              </a:rPr>
              <a:t>MEDARBEJDERE OG FORÆLDRE</a:t>
            </a:r>
          </a:p>
          <a:p>
            <a:endParaRPr lang="da-DK" sz="1053"/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847DB8F8-F443-46E3-BCF4-1A749C3A4A4D}"/>
              </a:ext>
            </a:extLst>
          </p:cNvPr>
          <p:cNvSpPr/>
          <p:nvPr/>
        </p:nvSpPr>
        <p:spPr>
          <a:xfrm>
            <a:off x="73304" y="2443161"/>
            <a:ext cx="8983133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53" b="1"/>
          </a:p>
        </p:txBody>
      </p:sp>
      <p:sp>
        <p:nvSpPr>
          <p:cNvPr id="126" name="Tekstfelt 125">
            <a:extLst>
              <a:ext uri="{FF2B5EF4-FFF2-40B4-BE49-F238E27FC236}">
                <a16:creationId xmlns:a16="http://schemas.microsoft.com/office/drawing/2014/main" id="{D656759D-F8F5-4856-878E-124AB4418B62}"/>
              </a:ext>
            </a:extLst>
          </p:cNvPr>
          <p:cNvSpPr txBox="1"/>
          <p:nvPr/>
        </p:nvSpPr>
        <p:spPr>
          <a:xfrm>
            <a:off x="0" y="2240560"/>
            <a:ext cx="1125056" cy="416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3" b="1">
                <a:solidFill>
                  <a:srgbClr val="337DA6"/>
                </a:solidFill>
              </a:rPr>
              <a:t>KUN FORÆLDRE</a:t>
            </a:r>
          </a:p>
          <a:p>
            <a:endParaRPr lang="da-DK" sz="1053"/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7BC83DE5-C87B-4DE3-A46B-0DA10B02515D}"/>
              </a:ext>
            </a:extLst>
          </p:cNvPr>
          <p:cNvSpPr/>
          <p:nvPr/>
        </p:nvSpPr>
        <p:spPr>
          <a:xfrm>
            <a:off x="73304" y="3146178"/>
            <a:ext cx="8983133" cy="342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53" b="1"/>
          </a:p>
        </p:txBody>
      </p:sp>
      <p:sp>
        <p:nvSpPr>
          <p:cNvPr id="127" name="Tekstfelt 126">
            <a:extLst>
              <a:ext uri="{FF2B5EF4-FFF2-40B4-BE49-F238E27FC236}">
                <a16:creationId xmlns:a16="http://schemas.microsoft.com/office/drawing/2014/main" id="{C76B1EA8-B031-4D8A-97C2-99220C439840}"/>
              </a:ext>
            </a:extLst>
          </p:cNvPr>
          <p:cNvSpPr txBox="1"/>
          <p:nvPr/>
        </p:nvSpPr>
        <p:spPr>
          <a:xfrm>
            <a:off x="0" y="2943577"/>
            <a:ext cx="2532185" cy="416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3" b="1" dirty="0">
                <a:solidFill>
                  <a:srgbClr val="337DA6"/>
                </a:solidFill>
              </a:rPr>
              <a:t>MEDARBEJDERE OG ELEVER</a:t>
            </a:r>
          </a:p>
          <a:p>
            <a:endParaRPr lang="da-DK" sz="1053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2654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ZSlRNkT.a6pJxjvqwL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.XqPH5Stax3a8EvQt2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HQJCcUQiyFZeMpZcba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n7D9DfSRmD3l6VbbrM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otzLrTRHW.yoktO47u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C8DX_RWe.GiqMpRWV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0t1.RT2CUc8ImV6_p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Z7sU8yQbK7czmIl2r1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8Ve_hSoauzOXwNwfv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Tuf3jmQNqn8BARZfHl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2MlLaRTheSfY3f99gV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E6PvOSQFSMxfyrat8l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-tema">
  <a:themeElements>
    <a:clrScheme name="Brugerdefineret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39EC6"/>
      </a:accent1>
      <a:accent2>
        <a:srgbClr val="337DA6"/>
      </a:accent2>
      <a:accent3>
        <a:srgbClr val="17638E"/>
      </a:accent3>
      <a:accent4>
        <a:srgbClr val="19415F"/>
      </a:accent4>
      <a:accent5>
        <a:srgbClr val="539EC6"/>
      </a:accent5>
      <a:accent6>
        <a:srgbClr val="337DA6"/>
      </a:accent6>
      <a:hlink>
        <a:srgbClr val="17638E"/>
      </a:hlink>
      <a:folHlink>
        <a:srgbClr val="19415F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la" id="{81F5F617-9A3D-5344-938D-741E46F761D9}" vid="{2CA48539-7013-B04F-AB67-6A85BA2D1BF3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26a3494-fb29-4aa4-bfb0-35341ca39cf4">
      <UserInfo>
        <DisplayName>Lone Juric Sørensen</DisplayName>
        <AccountId>2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59F381C-7C56-4CAF-978C-8B804EF556A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F2073E-2410-460F-A4CB-25FBC799D988}">
  <ds:schemaRefs>
    <ds:schemaRef ds:uri="http://schemas.microsoft.com/office/2006/metadata/properties"/>
    <ds:schemaRef ds:uri="16ca11c2-652e-4984-bdfe-49786aa2f500"/>
    <ds:schemaRef ds:uri="http://purl.org/dc/terms/"/>
    <ds:schemaRef ds:uri="http://schemas.microsoft.com/office/2006/documentManagement/types"/>
    <ds:schemaRef ds:uri="http://schemas.microsoft.com/office/infopath/2007/PartnerControls"/>
    <ds:schemaRef ds:uri="f26a3494-fb29-4aa4-bfb0-35341ca39cf4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15812FC-7FF7-4426-A9C7-3F094DBEEE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08</TotalTime>
  <Words>1128</Words>
  <Application>Microsoft Office PowerPoint</Application>
  <PresentationFormat>Skærmshow (16:10)</PresentationFormat>
  <Paragraphs>292</Paragraphs>
  <Slides>21</Slides>
  <Notes>9</Notes>
  <HiddenSlides>1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1</vt:i4>
      </vt:variant>
    </vt:vector>
  </HeadingPairs>
  <TitlesOfParts>
    <vt:vector size="26" baseType="lpstr">
      <vt:lpstr>Arial</vt:lpstr>
      <vt:lpstr>Calibri</vt:lpstr>
      <vt:lpstr>Wingdings</vt:lpstr>
      <vt:lpstr>Office-tema</vt:lpstr>
      <vt:lpstr>think-cell Slide</vt:lpstr>
      <vt:lpstr>Opsætning af Aula </vt:lpstr>
      <vt:lpstr>Hvordan har vi grebet opgaven an?</vt:lpstr>
      <vt:lpstr>Aula roller</vt:lpstr>
      <vt:lpstr>PowerPoint-præsentation</vt:lpstr>
      <vt:lpstr>Program for workshop 1 for lokale Aula administratorer</vt:lpstr>
      <vt:lpstr>Program for workshop 2 for lokale Aula administratorer:</vt:lpstr>
      <vt:lpstr>Gruppetræ og opsætningsoversigt</vt:lpstr>
      <vt:lpstr>Gruppetræ</vt:lpstr>
      <vt:lpstr>Gruppetræ</vt:lpstr>
      <vt:lpstr>PowerPoint-præsentation</vt:lpstr>
      <vt:lpstr>Hvis ingen adgang til at skrive til grupper, man ikke er medlem af….</vt:lpstr>
      <vt:lpstr>Overvejelser ift. grupper</vt:lpstr>
      <vt:lpstr>Overvejelser ift. grupper</vt:lpstr>
      <vt:lpstr>Overvejelser ift. grupper</vt:lpstr>
      <vt:lpstr>Hvad skal der oprettes fællespostkasse til?</vt:lpstr>
      <vt:lpstr>Afklaring: Styring af roller og rettigheder via grupper</vt:lpstr>
      <vt:lpstr>Oprettelse af andre ressourcer:</vt:lpstr>
      <vt:lpstr>Dashboards – standardopsætning</vt:lpstr>
      <vt:lpstr>Godkendte modtagere</vt:lpstr>
      <vt:lpstr>PowerPoint-præsentation</vt:lpstr>
      <vt:lpstr>Adgang til eller medbring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eter Dalhoff</dc:creator>
  <cp:lastModifiedBy>Kirsten Kåg Mortensen</cp:lastModifiedBy>
  <cp:revision>170</cp:revision>
  <dcterms:created xsi:type="dcterms:W3CDTF">2018-05-28T07:09:24Z</dcterms:created>
  <dcterms:modified xsi:type="dcterms:W3CDTF">2019-02-22T10:5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CMOneDriveID">
    <vt:lpwstr/>
  </property>
  <property fmtid="{D5CDD505-2E9C-101B-9397-08002B2CF9AE}" pid="3" name="CCMOneDriveOwnerID">
    <vt:lpwstr/>
  </property>
  <property fmtid="{D5CDD505-2E9C-101B-9397-08002B2CF9AE}" pid="4" name="ContentTypeId">
    <vt:lpwstr>0x010100059A9C3DBC90E941A1B2808491BAB128</vt:lpwstr>
  </property>
  <property fmtid="{D5CDD505-2E9C-101B-9397-08002B2CF9AE}" pid="5" name="CCMOneDriveItemID">
    <vt:lpwstr/>
  </property>
  <property fmtid="{D5CDD505-2E9C-101B-9397-08002B2CF9AE}" pid="6" name="CCMSystem">
    <vt:lpwstr> </vt:lpwstr>
  </property>
  <property fmtid="{D5CDD505-2E9C-101B-9397-08002B2CF9AE}" pid="7" name="CCMIsSharedOnOneDrive">
    <vt:bool>false</vt:bool>
  </property>
</Properties>
</file>